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  <p:sldId id="256" r:id="rId3"/>
    <p:sldId id="259" r:id="rId4"/>
    <p:sldId id="258" r:id="rId5"/>
    <p:sldId id="260" r:id="rId6"/>
    <p:sldId id="261" r:id="rId7"/>
    <p:sldId id="282" r:id="rId8"/>
    <p:sldId id="283" r:id="rId9"/>
    <p:sldId id="285" r:id="rId10"/>
    <p:sldId id="284" r:id="rId11"/>
    <p:sldId id="286" r:id="rId12"/>
    <p:sldId id="287" r:id="rId13"/>
    <p:sldId id="288" r:id="rId14"/>
    <p:sldId id="289" r:id="rId15"/>
    <p:sldId id="290" r:id="rId16"/>
    <p:sldId id="291" r:id="rId17"/>
    <p:sldId id="292" r:id="rId18"/>
    <p:sldId id="262" r:id="rId19"/>
    <p:sldId id="263" r:id="rId20"/>
    <p:sldId id="299" r:id="rId21"/>
    <p:sldId id="300" r:id="rId22"/>
    <p:sldId id="301" r:id="rId23"/>
    <p:sldId id="302" r:id="rId24"/>
    <p:sldId id="264" r:id="rId25"/>
    <p:sldId id="304" r:id="rId26"/>
    <p:sldId id="265" r:id="rId27"/>
    <p:sldId id="266" r:id="rId28"/>
    <p:sldId id="306" r:id="rId29"/>
    <p:sldId id="307" r:id="rId30"/>
    <p:sldId id="308" r:id="rId31"/>
    <p:sldId id="309" r:id="rId32"/>
    <p:sldId id="303" r:id="rId33"/>
    <p:sldId id="267" r:id="rId34"/>
    <p:sldId id="268" r:id="rId35"/>
    <p:sldId id="269" r:id="rId36"/>
    <p:sldId id="305" r:id="rId37"/>
    <p:sldId id="270" r:id="rId38"/>
    <p:sldId id="271" r:id="rId39"/>
    <p:sldId id="272" r:id="rId40"/>
    <p:sldId id="273" r:id="rId41"/>
    <p:sldId id="274" r:id="rId42"/>
    <p:sldId id="275" r:id="rId43"/>
    <p:sldId id="276" r:id="rId44"/>
    <p:sldId id="277" r:id="rId45"/>
    <p:sldId id="278" r:id="rId46"/>
    <p:sldId id="279" r:id="rId47"/>
    <p:sldId id="280" r:id="rId48"/>
    <p:sldId id="281" r:id="rId49"/>
    <p:sldId id="293" r:id="rId50"/>
    <p:sldId id="294" r:id="rId51"/>
    <p:sldId id="295" r:id="rId52"/>
    <p:sldId id="296" r:id="rId53"/>
    <p:sldId id="297" r:id="rId54"/>
    <p:sldId id="298" r:id="rId55"/>
    <p:sldId id="312" r:id="rId56"/>
    <p:sldId id="310" r:id="rId57"/>
    <p:sldId id="311" r:id="rId58"/>
    <p:sldId id="313" r:id="rId59"/>
    <p:sldId id="315" r:id="rId60"/>
    <p:sldId id="316" r:id="rId61"/>
    <p:sldId id="314" r:id="rId62"/>
    <p:sldId id="317" r:id="rId63"/>
    <p:sldId id="318" r:id="rId64"/>
    <p:sldId id="319" r:id="rId65"/>
    <p:sldId id="320" r:id="rId66"/>
    <p:sldId id="321" r:id="rId67"/>
    <p:sldId id="322" r:id="rId68"/>
    <p:sldId id="323" r:id="rId69"/>
    <p:sldId id="324" r:id="rId70"/>
    <p:sldId id="325" r:id="rId71"/>
    <p:sldId id="326" r:id="rId72"/>
    <p:sldId id="327" r:id="rId73"/>
    <p:sldId id="328" r:id="rId74"/>
    <p:sldId id="330" r:id="rId75"/>
    <p:sldId id="331" r:id="rId76"/>
    <p:sldId id="332" r:id="rId77"/>
    <p:sldId id="349" r:id="rId78"/>
    <p:sldId id="346" r:id="rId79"/>
    <p:sldId id="347" r:id="rId80"/>
    <p:sldId id="348" r:id="rId81"/>
    <p:sldId id="351" r:id="rId82"/>
    <p:sldId id="352" r:id="rId83"/>
    <p:sldId id="353" r:id="rId84"/>
    <p:sldId id="333" r:id="rId85"/>
    <p:sldId id="350" r:id="rId86"/>
    <p:sldId id="334" r:id="rId87"/>
    <p:sldId id="335" r:id="rId88"/>
    <p:sldId id="338" r:id="rId89"/>
    <p:sldId id="339" r:id="rId90"/>
    <p:sldId id="341" r:id="rId91"/>
    <p:sldId id="340" r:id="rId92"/>
    <p:sldId id="342" r:id="rId93"/>
    <p:sldId id="343" r:id="rId94"/>
    <p:sldId id="344" r:id="rId95"/>
    <p:sldId id="345" r:id="rId96"/>
  </p:sldIdLst>
  <p:sldSz cx="7199313" cy="7199313"/>
  <p:notesSz cx="6858000" cy="9144000"/>
  <p:custDataLst>
    <p:tags r:id="rId9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49" d="100"/>
          <a:sy n="149" d="100"/>
        </p:scale>
        <p:origin x="3084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viewProps" Target="viewProps.xml"/><Relationship Id="rId10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tags" Target="tags/tag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presProps" Target="presProps.xml"/><Relationship Id="rId3" Type="http://schemas.openxmlformats.org/officeDocument/2006/relationships/slide" Target="slides/slide2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10623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88" progId="TCLayout.ActiveDocument.1">
                  <p:embed/>
                </p:oleObj>
              </mc:Choice>
              <mc:Fallback>
                <p:oleObj name="think-cell Folie" r:id="rId3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9949" y="1178222"/>
            <a:ext cx="6119416" cy="2506427"/>
          </a:xfrm>
        </p:spPr>
        <p:txBody>
          <a:bodyPr anchor="b"/>
          <a:lstStyle>
            <a:lvl1pPr algn="ctr">
              <a:defRPr sz="4724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99914" y="3781306"/>
            <a:ext cx="5399485" cy="1738167"/>
          </a:xfrm>
        </p:spPr>
        <p:txBody>
          <a:bodyPr/>
          <a:lstStyle>
            <a:lvl1pPr marL="0" indent="0" algn="ctr">
              <a:buNone/>
              <a:defRPr sz="1890"/>
            </a:lvl1pPr>
            <a:lvl2pPr marL="359954" indent="0" algn="ctr">
              <a:buNone/>
              <a:defRPr sz="1575"/>
            </a:lvl2pPr>
            <a:lvl3pPr marL="719907" indent="0" algn="ctr">
              <a:buNone/>
              <a:defRPr sz="1417"/>
            </a:lvl3pPr>
            <a:lvl4pPr marL="1079861" indent="0" algn="ctr">
              <a:buNone/>
              <a:defRPr sz="1260"/>
            </a:lvl4pPr>
            <a:lvl5pPr marL="1439814" indent="0" algn="ctr">
              <a:buNone/>
              <a:defRPr sz="1260"/>
            </a:lvl5pPr>
            <a:lvl6pPr marL="1799768" indent="0" algn="ctr">
              <a:buNone/>
              <a:defRPr sz="1260"/>
            </a:lvl6pPr>
            <a:lvl7pPr marL="2159721" indent="0" algn="ctr">
              <a:buNone/>
              <a:defRPr sz="1260"/>
            </a:lvl7pPr>
            <a:lvl8pPr marL="2519675" indent="0" algn="ctr">
              <a:buNone/>
              <a:defRPr sz="1260"/>
            </a:lvl8pPr>
            <a:lvl9pPr marL="2879628" indent="0" algn="ctr">
              <a:buNone/>
              <a:defRPr sz="126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11.12.2022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90516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11.12.2022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46125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152009" y="383297"/>
            <a:ext cx="1552352" cy="610108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4953" y="383297"/>
            <a:ext cx="4567064" cy="610108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11.12.2022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42039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836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88" progId="TCLayout.ActiveDocument.1">
                  <p:embed/>
                </p:oleObj>
              </mc:Choice>
              <mc:Fallback>
                <p:oleObj name="think-cell Folie" r:id="rId3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11.12.2022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25336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1204" y="1794831"/>
            <a:ext cx="6209407" cy="2994714"/>
          </a:xfrm>
        </p:spPr>
        <p:txBody>
          <a:bodyPr anchor="b"/>
          <a:lstStyle>
            <a:lvl1pPr>
              <a:defRPr sz="4724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1204" y="4817876"/>
            <a:ext cx="6209407" cy="1574849"/>
          </a:xfrm>
        </p:spPr>
        <p:txBody>
          <a:bodyPr/>
          <a:lstStyle>
            <a:lvl1pPr marL="0" indent="0">
              <a:buNone/>
              <a:defRPr sz="1890">
                <a:solidFill>
                  <a:schemeClr val="tx1"/>
                </a:solidFill>
              </a:defRPr>
            </a:lvl1pPr>
            <a:lvl2pPr marL="359954" indent="0">
              <a:buNone/>
              <a:defRPr sz="1575">
                <a:solidFill>
                  <a:schemeClr val="tx1">
                    <a:tint val="75000"/>
                  </a:schemeClr>
                </a:solidFill>
              </a:defRPr>
            </a:lvl2pPr>
            <a:lvl3pPr marL="719907" indent="0">
              <a:buNone/>
              <a:defRPr sz="1417">
                <a:solidFill>
                  <a:schemeClr val="tx1">
                    <a:tint val="75000"/>
                  </a:schemeClr>
                </a:solidFill>
              </a:defRPr>
            </a:lvl3pPr>
            <a:lvl4pPr marL="1079861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4pPr>
            <a:lvl5pPr marL="1439814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5pPr>
            <a:lvl6pPr marL="1799768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6pPr>
            <a:lvl7pPr marL="2159721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7pPr>
            <a:lvl8pPr marL="2519675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8pPr>
            <a:lvl9pPr marL="2879628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11.12.2022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236304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4953" y="1916484"/>
            <a:ext cx="3059708" cy="456789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44652" y="1916484"/>
            <a:ext cx="3059708" cy="456789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11.12.2022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68906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891" y="383299"/>
            <a:ext cx="6209407" cy="1391534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891" y="1764832"/>
            <a:ext cx="3045646" cy="864917"/>
          </a:xfrm>
        </p:spPr>
        <p:txBody>
          <a:bodyPr anchor="b"/>
          <a:lstStyle>
            <a:lvl1pPr marL="0" indent="0">
              <a:buNone/>
              <a:defRPr sz="1890" b="1"/>
            </a:lvl1pPr>
            <a:lvl2pPr marL="359954" indent="0">
              <a:buNone/>
              <a:defRPr sz="1575" b="1"/>
            </a:lvl2pPr>
            <a:lvl3pPr marL="719907" indent="0">
              <a:buNone/>
              <a:defRPr sz="1417" b="1"/>
            </a:lvl3pPr>
            <a:lvl4pPr marL="1079861" indent="0">
              <a:buNone/>
              <a:defRPr sz="1260" b="1"/>
            </a:lvl4pPr>
            <a:lvl5pPr marL="1439814" indent="0">
              <a:buNone/>
              <a:defRPr sz="1260" b="1"/>
            </a:lvl5pPr>
            <a:lvl6pPr marL="1799768" indent="0">
              <a:buNone/>
              <a:defRPr sz="1260" b="1"/>
            </a:lvl6pPr>
            <a:lvl7pPr marL="2159721" indent="0">
              <a:buNone/>
              <a:defRPr sz="1260" b="1"/>
            </a:lvl7pPr>
            <a:lvl8pPr marL="2519675" indent="0">
              <a:buNone/>
              <a:defRPr sz="1260" b="1"/>
            </a:lvl8pPr>
            <a:lvl9pPr marL="2879628" indent="0">
              <a:buNone/>
              <a:defRPr sz="126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891" y="2629749"/>
            <a:ext cx="3045646" cy="386796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644652" y="1764832"/>
            <a:ext cx="3060646" cy="864917"/>
          </a:xfrm>
        </p:spPr>
        <p:txBody>
          <a:bodyPr anchor="b"/>
          <a:lstStyle>
            <a:lvl1pPr marL="0" indent="0">
              <a:buNone/>
              <a:defRPr sz="1890" b="1"/>
            </a:lvl1pPr>
            <a:lvl2pPr marL="359954" indent="0">
              <a:buNone/>
              <a:defRPr sz="1575" b="1"/>
            </a:lvl2pPr>
            <a:lvl3pPr marL="719907" indent="0">
              <a:buNone/>
              <a:defRPr sz="1417" b="1"/>
            </a:lvl3pPr>
            <a:lvl4pPr marL="1079861" indent="0">
              <a:buNone/>
              <a:defRPr sz="1260" b="1"/>
            </a:lvl4pPr>
            <a:lvl5pPr marL="1439814" indent="0">
              <a:buNone/>
              <a:defRPr sz="1260" b="1"/>
            </a:lvl5pPr>
            <a:lvl6pPr marL="1799768" indent="0">
              <a:buNone/>
              <a:defRPr sz="1260" b="1"/>
            </a:lvl6pPr>
            <a:lvl7pPr marL="2159721" indent="0">
              <a:buNone/>
              <a:defRPr sz="1260" b="1"/>
            </a:lvl7pPr>
            <a:lvl8pPr marL="2519675" indent="0">
              <a:buNone/>
              <a:defRPr sz="1260" b="1"/>
            </a:lvl8pPr>
            <a:lvl9pPr marL="2879628" indent="0">
              <a:buNone/>
              <a:defRPr sz="126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644652" y="2629749"/>
            <a:ext cx="3060646" cy="386796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11.12.2022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53475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11.12.2022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11007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11.12.2022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73069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890" y="479954"/>
            <a:ext cx="2321966" cy="1679840"/>
          </a:xfrm>
        </p:spPr>
        <p:txBody>
          <a:bodyPr anchor="b"/>
          <a:lstStyle>
            <a:lvl1pPr>
              <a:defRPr sz="2519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60646" y="1036570"/>
            <a:ext cx="3644652" cy="5116178"/>
          </a:xfrm>
        </p:spPr>
        <p:txBody>
          <a:bodyPr/>
          <a:lstStyle>
            <a:lvl1pPr>
              <a:defRPr sz="2519"/>
            </a:lvl1pPr>
            <a:lvl2pPr>
              <a:defRPr sz="2204"/>
            </a:lvl2pPr>
            <a:lvl3pPr>
              <a:defRPr sz="1890"/>
            </a:lvl3pPr>
            <a:lvl4pPr>
              <a:defRPr sz="1575"/>
            </a:lvl4pPr>
            <a:lvl5pPr>
              <a:defRPr sz="1575"/>
            </a:lvl5pPr>
            <a:lvl6pPr>
              <a:defRPr sz="1575"/>
            </a:lvl6pPr>
            <a:lvl7pPr>
              <a:defRPr sz="1575"/>
            </a:lvl7pPr>
            <a:lvl8pPr>
              <a:defRPr sz="1575"/>
            </a:lvl8pPr>
            <a:lvl9pPr>
              <a:defRPr sz="1575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890" y="2159794"/>
            <a:ext cx="2321966" cy="4001285"/>
          </a:xfrm>
        </p:spPr>
        <p:txBody>
          <a:bodyPr/>
          <a:lstStyle>
            <a:lvl1pPr marL="0" indent="0">
              <a:buNone/>
              <a:defRPr sz="1260"/>
            </a:lvl1pPr>
            <a:lvl2pPr marL="359954" indent="0">
              <a:buNone/>
              <a:defRPr sz="1102"/>
            </a:lvl2pPr>
            <a:lvl3pPr marL="719907" indent="0">
              <a:buNone/>
              <a:defRPr sz="945"/>
            </a:lvl3pPr>
            <a:lvl4pPr marL="1079861" indent="0">
              <a:buNone/>
              <a:defRPr sz="787"/>
            </a:lvl4pPr>
            <a:lvl5pPr marL="1439814" indent="0">
              <a:buNone/>
              <a:defRPr sz="787"/>
            </a:lvl5pPr>
            <a:lvl6pPr marL="1799768" indent="0">
              <a:buNone/>
              <a:defRPr sz="787"/>
            </a:lvl6pPr>
            <a:lvl7pPr marL="2159721" indent="0">
              <a:buNone/>
              <a:defRPr sz="787"/>
            </a:lvl7pPr>
            <a:lvl8pPr marL="2519675" indent="0">
              <a:buNone/>
              <a:defRPr sz="787"/>
            </a:lvl8pPr>
            <a:lvl9pPr marL="2879628" indent="0">
              <a:buNone/>
              <a:defRPr sz="787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11.12.2022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77965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890" y="479954"/>
            <a:ext cx="2321966" cy="1679840"/>
          </a:xfrm>
        </p:spPr>
        <p:txBody>
          <a:bodyPr anchor="b"/>
          <a:lstStyle>
            <a:lvl1pPr>
              <a:defRPr sz="2519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060646" y="1036570"/>
            <a:ext cx="3644652" cy="5116178"/>
          </a:xfrm>
        </p:spPr>
        <p:txBody>
          <a:bodyPr anchor="t"/>
          <a:lstStyle>
            <a:lvl1pPr marL="0" indent="0">
              <a:buNone/>
              <a:defRPr sz="2519"/>
            </a:lvl1pPr>
            <a:lvl2pPr marL="359954" indent="0">
              <a:buNone/>
              <a:defRPr sz="2204"/>
            </a:lvl2pPr>
            <a:lvl3pPr marL="719907" indent="0">
              <a:buNone/>
              <a:defRPr sz="1890"/>
            </a:lvl3pPr>
            <a:lvl4pPr marL="1079861" indent="0">
              <a:buNone/>
              <a:defRPr sz="1575"/>
            </a:lvl4pPr>
            <a:lvl5pPr marL="1439814" indent="0">
              <a:buNone/>
              <a:defRPr sz="1575"/>
            </a:lvl5pPr>
            <a:lvl6pPr marL="1799768" indent="0">
              <a:buNone/>
              <a:defRPr sz="1575"/>
            </a:lvl6pPr>
            <a:lvl7pPr marL="2159721" indent="0">
              <a:buNone/>
              <a:defRPr sz="1575"/>
            </a:lvl7pPr>
            <a:lvl8pPr marL="2519675" indent="0">
              <a:buNone/>
              <a:defRPr sz="1575"/>
            </a:lvl8pPr>
            <a:lvl9pPr marL="2879628" indent="0">
              <a:buNone/>
              <a:defRPr sz="1575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890" y="2159794"/>
            <a:ext cx="2321966" cy="4001285"/>
          </a:xfrm>
        </p:spPr>
        <p:txBody>
          <a:bodyPr/>
          <a:lstStyle>
            <a:lvl1pPr marL="0" indent="0">
              <a:buNone/>
              <a:defRPr sz="1260"/>
            </a:lvl1pPr>
            <a:lvl2pPr marL="359954" indent="0">
              <a:buNone/>
              <a:defRPr sz="1102"/>
            </a:lvl2pPr>
            <a:lvl3pPr marL="719907" indent="0">
              <a:buNone/>
              <a:defRPr sz="945"/>
            </a:lvl3pPr>
            <a:lvl4pPr marL="1079861" indent="0">
              <a:buNone/>
              <a:defRPr sz="787"/>
            </a:lvl4pPr>
            <a:lvl5pPr marL="1439814" indent="0">
              <a:buNone/>
              <a:defRPr sz="787"/>
            </a:lvl5pPr>
            <a:lvl6pPr marL="1799768" indent="0">
              <a:buNone/>
              <a:defRPr sz="787"/>
            </a:lvl6pPr>
            <a:lvl7pPr marL="2159721" indent="0">
              <a:buNone/>
              <a:defRPr sz="787"/>
            </a:lvl7pPr>
            <a:lvl8pPr marL="2519675" indent="0">
              <a:buNone/>
              <a:defRPr sz="787"/>
            </a:lvl8pPr>
            <a:lvl9pPr marL="2879628" indent="0">
              <a:buNone/>
              <a:defRPr sz="787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11.12.2022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981285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pattFill prst="lgCheck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9089640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592" imgH="588" progId="TCLayout.ActiveDocument.1">
                  <p:embed/>
                </p:oleObj>
              </mc:Choice>
              <mc:Fallback>
                <p:oleObj name="think-cell Folie" r:id="rId15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64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4953" y="383299"/>
            <a:ext cx="6209407" cy="1391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4953" y="1916484"/>
            <a:ext cx="6209407" cy="45678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4953" y="6672698"/>
            <a:ext cx="1619845" cy="3832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1EFB77-D67C-4B41-8660-F7D06438CC8C}" type="datetimeFigureOut">
              <a:rPr lang="de-DE" smtClean="0"/>
              <a:t>11.12.2022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84773" y="6672698"/>
            <a:ext cx="2429768" cy="3832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4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084515" y="6672698"/>
            <a:ext cx="1619845" cy="3832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08227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719907" rtl="0" eaLnBrk="1" latinLnBrk="0" hangingPunct="1">
        <a:lnSpc>
          <a:spcPct val="90000"/>
        </a:lnSpc>
        <a:spcBef>
          <a:spcPct val="0"/>
        </a:spcBef>
        <a:buNone/>
        <a:defRPr sz="346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977" indent="-179977" algn="l" defTabSz="719907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204" kern="1200">
          <a:solidFill>
            <a:schemeClr val="tx1"/>
          </a:solidFill>
          <a:latin typeface="+mn-lt"/>
          <a:ea typeface="+mn-ea"/>
          <a:cs typeface="+mn-cs"/>
        </a:defRPr>
      </a:lvl1pPr>
      <a:lvl2pPr marL="539930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2pPr>
      <a:lvl3pPr marL="899884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3pPr>
      <a:lvl4pPr marL="1259837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7" kern="1200">
          <a:solidFill>
            <a:schemeClr val="tx1"/>
          </a:solidFill>
          <a:latin typeface="+mn-lt"/>
          <a:ea typeface="+mn-ea"/>
          <a:cs typeface="+mn-cs"/>
        </a:defRPr>
      </a:lvl4pPr>
      <a:lvl5pPr marL="1619791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7" kern="1200">
          <a:solidFill>
            <a:schemeClr val="tx1"/>
          </a:solidFill>
          <a:latin typeface="+mn-lt"/>
          <a:ea typeface="+mn-ea"/>
          <a:cs typeface="+mn-cs"/>
        </a:defRPr>
      </a:lvl5pPr>
      <a:lvl6pPr marL="1979745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7" kern="1200">
          <a:solidFill>
            <a:schemeClr val="tx1"/>
          </a:solidFill>
          <a:latin typeface="+mn-lt"/>
          <a:ea typeface="+mn-ea"/>
          <a:cs typeface="+mn-cs"/>
        </a:defRPr>
      </a:lvl6pPr>
      <a:lvl7pPr marL="2339698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7" kern="1200">
          <a:solidFill>
            <a:schemeClr val="tx1"/>
          </a:solidFill>
          <a:latin typeface="+mn-lt"/>
          <a:ea typeface="+mn-ea"/>
          <a:cs typeface="+mn-cs"/>
        </a:defRPr>
      </a:lvl7pPr>
      <a:lvl8pPr marL="2699652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7" kern="1200">
          <a:solidFill>
            <a:schemeClr val="tx1"/>
          </a:solidFill>
          <a:latin typeface="+mn-lt"/>
          <a:ea typeface="+mn-ea"/>
          <a:cs typeface="+mn-cs"/>
        </a:defRPr>
      </a:lvl8pPr>
      <a:lvl9pPr marL="3059605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1pPr>
      <a:lvl2pPr marL="359954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2pPr>
      <a:lvl3pPr marL="719907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3pPr>
      <a:lvl4pPr marL="1079861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4pPr>
      <a:lvl5pPr marL="1439814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5pPr>
      <a:lvl6pPr marL="1799768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6pPr>
      <a:lvl7pPr marL="2159721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7pPr>
      <a:lvl8pPr marL="2519675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8pPr>
      <a:lvl9pPr marL="2879628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2.emf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2.emf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4" Type="http://schemas.openxmlformats.org/officeDocument/2006/relationships/image" Target="../media/image2.emf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4" Type="http://schemas.openxmlformats.org/officeDocument/2006/relationships/image" Target="../media/image2.emf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4" Type="http://schemas.openxmlformats.org/officeDocument/2006/relationships/image" Target="../media/image2.emf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4" Type="http://schemas.openxmlformats.org/officeDocument/2006/relationships/image" Target="../media/image2.emf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0.xml"/><Relationship Id="rId7" Type="http://schemas.openxmlformats.org/officeDocument/2006/relationships/image" Target="../media/image2.emf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oleObject" Target="../embeddings/oleObject16.bin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5.png"/><Relationship Id="rId4" Type="http://schemas.openxmlformats.org/officeDocument/2006/relationships/tags" Target="../tags/tag21.xml"/><Relationship Id="rId9" Type="http://schemas.openxmlformats.org/officeDocument/2006/relationships/image" Target="../media/image4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4" Type="http://schemas.openxmlformats.org/officeDocument/2006/relationships/image" Target="../media/image2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4" Type="http://schemas.openxmlformats.org/officeDocument/2006/relationships/image" Target="../media/image2.emf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4" Type="http://schemas.openxmlformats.org/officeDocument/2006/relationships/image" Target="../media/image2.emf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4" Type="http://schemas.openxmlformats.org/officeDocument/2006/relationships/image" Target="../media/image2.emf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Relationship Id="rId4" Type="http://schemas.openxmlformats.org/officeDocument/2006/relationships/image" Target="../media/image2.emf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4" Type="http://schemas.openxmlformats.org/officeDocument/2006/relationships/image" Target="../media/image2.emf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Relationship Id="rId4" Type="http://schemas.openxmlformats.org/officeDocument/2006/relationships/image" Target="../media/image2.emf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4" Type="http://schemas.openxmlformats.org/officeDocument/2006/relationships/image" Target="../media/image2.emf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4" Type="http://schemas.openxmlformats.org/officeDocument/2006/relationships/image" Target="../media/image2.emf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4" Type="http://schemas.openxmlformats.org/officeDocument/2006/relationships/image" Target="../media/image2.emf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4" Type="http://schemas.openxmlformats.org/officeDocument/2006/relationships/image" Target="../media/image2.em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9.bin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0.bin"/><Relationship Id="rId4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Relationship Id="rId4" Type="http://schemas.openxmlformats.org/officeDocument/2006/relationships/image" Target="../media/image2.emf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Relationship Id="rId4" Type="http://schemas.openxmlformats.org/officeDocument/2006/relationships/image" Target="../media/image2.emf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2.xml"/><Relationship Id="rId4" Type="http://schemas.openxmlformats.org/officeDocument/2006/relationships/image" Target="../media/image2.emf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4.bin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5.bin"/></Relationships>
</file>

<file path=ppt/slides/_rels/slide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9.xml"/><Relationship Id="rId7" Type="http://schemas.openxmlformats.org/officeDocument/2006/relationships/oleObject" Target="../embeddings/oleObject36.bin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51.xml"/><Relationship Id="rId4" Type="http://schemas.openxmlformats.org/officeDocument/2006/relationships/tags" Target="../tags/tag50.xml"/></Relationships>
</file>

<file path=ppt/slides/_rels/slide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4.xml"/><Relationship Id="rId7" Type="http://schemas.openxmlformats.org/officeDocument/2006/relationships/oleObject" Target="../embeddings/oleObject37.bin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56.xml"/><Relationship Id="rId4" Type="http://schemas.openxmlformats.org/officeDocument/2006/relationships/tags" Target="../tags/tag5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9.xml"/><Relationship Id="rId7" Type="http://schemas.openxmlformats.org/officeDocument/2006/relationships/oleObject" Target="../embeddings/oleObject38.bin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61.xml"/><Relationship Id="rId4" Type="http://schemas.openxmlformats.org/officeDocument/2006/relationships/tags" Target="../tags/tag60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0.bin"/><Relationship Id="rId4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1.bin"/><Relationship Id="rId4" Type="http://schemas.openxmlformats.org/officeDocument/2006/relationships/slideLayout" Target="../slideLayouts/slideLayout2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2.bin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3.bin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4.bin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5.bin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6.bin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0.xml"/><Relationship Id="rId4" Type="http://schemas.openxmlformats.org/officeDocument/2006/relationships/image" Target="../media/image2.em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1.xml"/><Relationship Id="rId4" Type="http://schemas.openxmlformats.org/officeDocument/2006/relationships/image" Target="../media/image2.emf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2.xml"/><Relationship Id="rId4" Type="http://schemas.openxmlformats.org/officeDocument/2006/relationships/image" Target="../media/image2.emf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3.xml"/><Relationship Id="rId4" Type="http://schemas.openxmlformats.org/officeDocument/2006/relationships/image" Target="../media/image2.emf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4.xml"/><Relationship Id="rId4" Type="http://schemas.openxmlformats.org/officeDocument/2006/relationships/image" Target="../media/image2.emf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5.xml"/><Relationship Id="rId4" Type="http://schemas.openxmlformats.org/officeDocument/2006/relationships/image" Target="../media/image2.emf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6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59860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88" progId="TCLayout.ActiveDocument.1">
                  <p:embed/>
                </p:oleObj>
              </mc:Choice>
              <mc:Fallback>
                <p:oleObj name="think-cell Folie" r:id="rId3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ieren 1"/>
          <p:cNvGrpSpPr/>
          <p:nvPr/>
        </p:nvGrpSpPr>
        <p:grpSpPr>
          <a:xfrm>
            <a:off x="157837" y="120073"/>
            <a:ext cx="3049684" cy="3862353"/>
            <a:chOff x="61590" y="97992"/>
            <a:chExt cx="3049684" cy="3862353"/>
          </a:xfrm>
        </p:grpSpPr>
        <p:sp>
          <p:nvSpPr>
            <p:cNvPr id="4" name="Rechteck 3"/>
            <p:cNvSpPr/>
            <p:nvPr/>
          </p:nvSpPr>
          <p:spPr>
            <a:xfrm>
              <a:off x="61590" y="97992"/>
              <a:ext cx="1380842" cy="1095451"/>
            </a:xfrm>
            <a:prstGeom prst="rect">
              <a:avLst/>
            </a:prstGeom>
            <a:solidFill>
              <a:schemeClr val="bg1"/>
            </a:solidFill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890"/>
            </a:p>
          </p:txBody>
        </p:sp>
        <p:sp>
          <p:nvSpPr>
            <p:cNvPr id="5" name="Rechteck 4"/>
            <p:cNvSpPr/>
            <p:nvPr/>
          </p:nvSpPr>
          <p:spPr>
            <a:xfrm>
              <a:off x="1730432" y="97992"/>
              <a:ext cx="1380842" cy="1095451"/>
            </a:xfrm>
            <a:prstGeom prst="rect">
              <a:avLst/>
            </a:prstGeom>
            <a:solidFill>
              <a:schemeClr val="accent3"/>
            </a:solidFill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890"/>
            </a:p>
          </p:txBody>
        </p:sp>
        <p:sp>
          <p:nvSpPr>
            <p:cNvPr id="7" name="Rechteck 6"/>
            <p:cNvSpPr/>
            <p:nvPr/>
          </p:nvSpPr>
          <p:spPr>
            <a:xfrm>
              <a:off x="61590" y="1481443"/>
              <a:ext cx="1380842" cy="1095451"/>
            </a:xfrm>
            <a:prstGeom prst="rect">
              <a:avLst/>
            </a:prstGeom>
            <a:solidFill>
              <a:schemeClr val="bg1"/>
            </a:solidFill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890"/>
            </a:p>
          </p:txBody>
        </p:sp>
        <p:sp>
          <p:nvSpPr>
            <p:cNvPr id="8" name="Rechteck 7"/>
            <p:cNvSpPr/>
            <p:nvPr/>
          </p:nvSpPr>
          <p:spPr>
            <a:xfrm>
              <a:off x="1730432" y="1481443"/>
              <a:ext cx="1380842" cy="1095451"/>
            </a:xfrm>
            <a:prstGeom prst="rect">
              <a:avLst/>
            </a:prstGeom>
            <a:solidFill>
              <a:schemeClr val="accent3"/>
            </a:solidFill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890"/>
            </a:p>
          </p:txBody>
        </p:sp>
        <p:sp>
          <p:nvSpPr>
            <p:cNvPr id="10" name="Rechteck 9"/>
            <p:cNvSpPr/>
            <p:nvPr/>
          </p:nvSpPr>
          <p:spPr>
            <a:xfrm>
              <a:off x="61590" y="2864894"/>
              <a:ext cx="1380842" cy="1095451"/>
            </a:xfrm>
            <a:prstGeom prst="rect">
              <a:avLst/>
            </a:prstGeom>
            <a:solidFill>
              <a:schemeClr val="bg1"/>
            </a:solidFill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890"/>
            </a:p>
          </p:txBody>
        </p:sp>
        <p:sp>
          <p:nvSpPr>
            <p:cNvPr id="11" name="Rechteck 10"/>
            <p:cNvSpPr/>
            <p:nvPr/>
          </p:nvSpPr>
          <p:spPr>
            <a:xfrm>
              <a:off x="1730432" y="2864894"/>
              <a:ext cx="1380842" cy="1095451"/>
            </a:xfrm>
            <a:prstGeom prst="rect">
              <a:avLst/>
            </a:prstGeom>
            <a:solidFill>
              <a:schemeClr val="accent3"/>
            </a:solidFill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890"/>
            </a:p>
          </p:txBody>
        </p:sp>
      </p:grpSp>
      <p:sp>
        <p:nvSpPr>
          <p:cNvPr id="16" name="Rechteck 15"/>
          <p:cNvSpPr/>
          <p:nvPr/>
        </p:nvSpPr>
        <p:spPr>
          <a:xfrm>
            <a:off x="3769037" y="3427869"/>
            <a:ext cx="892922" cy="168609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17" name="Rechteck 16"/>
          <p:cNvSpPr/>
          <p:nvPr/>
        </p:nvSpPr>
        <p:spPr>
          <a:xfrm>
            <a:off x="3769037" y="5401959"/>
            <a:ext cx="892922" cy="1686090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18" name="Rechteck 17"/>
          <p:cNvSpPr/>
          <p:nvPr/>
        </p:nvSpPr>
        <p:spPr>
          <a:xfrm>
            <a:off x="4949959" y="3427869"/>
            <a:ext cx="892922" cy="168609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20" name="Rechteck 19"/>
          <p:cNvSpPr/>
          <p:nvPr/>
        </p:nvSpPr>
        <p:spPr>
          <a:xfrm>
            <a:off x="4949959" y="5401959"/>
            <a:ext cx="892922" cy="1686090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21" name="Rechteck 20"/>
          <p:cNvSpPr/>
          <p:nvPr/>
        </p:nvSpPr>
        <p:spPr>
          <a:xfrm>
            <a:off x="6130881" y="3427869"/>
            <a:ext cx="892922" cy="168609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24" name="Rechteck 23"/>
          <p:cNvSpPr/>
          <p:nvPr/>
        </p:nvSpPr>
        <p:spPr>
          <a:xfrm>
            <a:off x="6130881" y="5401959"/>
            <a:ext cx="892922" cy="1686090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1" name="Rechteckiger Pfeil 30"/>
          <p:cNvSpPr/>
          <p:nvPr/>
        </p:nvSpPr>
        <p:spPr>
          <a:xfrm flipV="1">
            <a:off x="560224" y="3427868"/>
            <a:ext cx="3605375" cy="2922299"/>
          </a:xfrm>
          <a:prstGeom prst="bentArrow">
            <a:avLst>
              <a:gd name="adj1" fmla="val 25000"/>
              <a:gd name="adj2" fmla="val 34285"/>
              <a:gd name="adj3" fmla="val 41520"/>
              <a:gd name="adj4" fmla="val 77057"/>
            </a:avLst>
          </a:prstGeom>
          <a:solidFill>
            <a:schemeClr val="accent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19935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7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406279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6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773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5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67745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4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64227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3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67686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2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69292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1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19787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91744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uppieren 20"/>
          <p:cNvGrpSpPr/>
          <p:nvPr/>
        </p:nvGrpSpPr>
        <p:grpSpPr>
          <a:xfrm>
            <a:off x="168590" y="835372"/>
            <a:ext cx="6862132" cy="1554856"/>
            <a:chOff x="17508" y="2576185"/>
            <a:chExt cx="7164297" cy="2046942"/>
          </a:xfrm>
        </p:grpSpPr>
        <p:grpSp>
          <p:nvGrpSpPr>
            <p:cNvPr id="7" name="Gruppieren 6" hidden="1"/>
            <p:cNvGrpSpPr/>
            <p:nvPr/>
          </p:nvGrpSpPr>
          <p:grpSpPr>
            <a:xfrm>
              <a:off x="17508" y="2576185"/>
              <a:ext cx="7164297" cy="2046942"/>
              <a:chOff x="1460500" y="1270000"/>
              <a:chExt cx="889000" cy="254000"/>
            </a:xfrm>
          </p:grpSpPr>
          <p:sp>
            <p:nvSpPr>
              <p:cNvPr id="4" name="Rechteck 3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" name="Rechteck 4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" name="Rechteck 5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" name="Gruppieren 10"/>
            <p:cNvGrpSpPr/>
            <p:nvPr/>
          </p:nvGrpSpPr>
          <p:grpSpPr>
            <a:xfrm>
              <a:off x="17508" y="2576185"/>
              <a:ext cx="7164297" cy="2046942"/>
              <a:chOff x="1460500" y="1270000"/>
              <a:chExt cx="889000" cy="254000"/>
            </a:xfrm>
          </p:grpSpPr>
          <p:sp>
            <p:nvSpPr>
              <p:cNvPr id="8" name="Rechteck 7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" name="Rechteck 8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" name="Rechteck 9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" name="Gruppieren 14" hidden="1"/>
            <p:cNvGrpSpPr/>
            <p:nvPr/>
          </p:nvGrpSpPr>
          <p:grpSpPr>
            <a:xfrm>
              <a:off x="17508" y="2576185"/>
              <a:ext cx="7164297" cy="2046942"/>
              <a:chOff x="1460500" y="1270000"/>
              <a:chExt cx="889000" cy="254000"/>
            </a:xfrm>
          </p:grpSpPr>
          <p:sp>
            <p:nvSpPr>
              <p:cNvPr id="12" name="Rechteck 11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Rechteck 12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" name="Rechteck 13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9" name="Gruppieren 18" hidden="1"/>
            <p:cNvGrpSpPr/>
            <p:nvPr/>
          </p:nvGrpSpPr>
          <p:grpSpPr>
            <a:xfrm>
              <a:off x="17508" y="2576185"/>
              <a:ext cx="7164297" cy="2046942"/>
              <a:chOff x="1460500" y="1270000"/>
              <a:chExt cx="889000" cy="254000"/>
            </a:xfrm>
          </p:grpSpPr>
          <p:sp>
            <p:nvSpPr>
              <p:cNvPr id="16" name="Rechteck 15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" name="Rechteck 16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" name="Rechteck 17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57" name="Gruppieren 56"/>
          <p:cNvGrpSpPr/>
          <p:nvPr/>
        </p:nvGrpSpPr>
        <p:grpSpPr>
          <a:xfrm>
            <a:off x="168590" y="2822228"/>
            <a:ext cx="6862132" cy="1554856"/>
            <a:chOff x="168590" y="2644588"/>
            <a:chExt cx="6862132" cy="1960609"/>
          </a:xfrm>
        </p:grpSpPr>
        <p:grpSp>
          <p:nvGrpSpPr>
            <p:cNvPr id="23" name="Gruppieren 22" hidden="1"/>
            <p:cNvGrpSpPr/>
            <p:nvPr/>
          </p:nvGrpSpPr>
          <p:grpSpPr>
            <a:xfrm>
              <a:off x="168590" y="2644588"/>
              <a:ext cx="6862132" cy="1960609"/>
              <a:chOff x="1460500" y="1270000"/>
              <a:chExt cx="889000" cy="254000"/>
            </a:xfrm>
          </p:grpSpPr>
          <p:sp>
            <p:nvSpPr>
              <p:cNvPr id="36" name="Rechteck 35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Rechteck 36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" name="Rechteck 37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4" name="Gruppieren 23" hidden="1"/>
            <p:cNvGrpSpPr/>
            <p:nvPr/>
          </p:nvGrpSpPr>
          <p:grpSpPr>
            <a:xfrm>
              <a:off x="168590" y="2644588"/>
              <a:ext cx="6862132" cy="1960609"/>
              <a:chOff x="1460500" y="1270000"/>
              <a:chExt cx="889000" cy="254000"/>
            </a:xfrm>
          </p:grpSpPr>
          <p:sp>
            <p:nvSpPr>
              <p:cNvPr id="33" name="Rechteck 32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hteck 33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hteck 34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5" name="Gruppieren 24"/>
            <p:cNvGrpSpPr/>
            <p:nvPr/>
          </p:nvGrpSpPr>
          <p:grpSpPr>
            <a:xfrm>
              <a:off x="168590" y="2644588"/>
              <a:ext cx="6862132" cy="1960609"/>
              <a:chOff x="1460500" y="1270000"/>
              <a:chExt cx="889000" cy="254000"/>
            </a:xfrm>
          </p:grpSpPr>
          <p:sp>
            <p:nvSpPr>
              <p:cNvPr id="30" name="Rechteck 29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Rechteck 30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Rechteck 3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6" name="Gruppieren 25" hidden="1"/>
            <p:cNvGrpSpPr/>
            <p:nvPr/>
          </p:nvGrpSpPr>
          <p:grpSpPr>
            <a:xfrm>
              <a:off x="168590" y="2644588"/>
              <a:ext cx="6862132" cy="1960609"/>
              <a:chOff x="1460500" y="1270000"/>
              <a:chExt cx="889000" cy="254000"/>
            </a:xfrm>
          </p:grpSpPr>
          <p:sp>
            <p:nvSpPr>
              <p:cNvPr id="27" name="Rechteck 26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Rechteck 27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Rechteck 28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78" name="Gruppieren 77"/>
          <p:cNvGrpSpPr/>
          <p:nvPr/>
        </p:nvGrpSpPr>
        <p:grpSpPr>
          <a:xfrm>
            <a:off x="168590" y="4809084"/>
            <a:ext cx="6862132" cy="1554856"/>
            <a:chOff x="168590" y="4945209"/>
            <a:chExt cx="6862132" cy="1960609"/>
          </a:xfrm>
        </p:grpSpPr>
        <p:grpSp>
          <p:nvGrpSpPr>
            <p:cNvPr id="62" name="Gruppieren 61" hidden="1"/>
            <p:cNvGrpSpPr/>
            <p:nvPr/>
          </p:nvGrpSpPr>
          <p:grpSpPr>
            <a:xfrm>
              <a:off x="168590" y="4945209"/>
              <a:ext cx="6862132" cy="1960609"/>
              <a:chOff x="1460500" y="1270000"/>
              <a:chExt cx="889000" cy="254000"/>
            </a:xfrm>
          </p:grpSpPr>
          <p:sp>
            <p:nvSpPr>
              <p:cNvPr id="75" name="Rechteck 74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6" name="Rechteck 75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7" name="Rechteck 76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63" name="Gruppieren 62" hidden="1"/>
            <p:cNvGrpSpPr/>
            <p:nvPr/>
          </p:nvGrpSpPr>
          <p:grpSpPr>
            <a:xfrm>
              <a:off x="168590" y="4945209"/>
              <a:ext cx="6862132" cy="1960609"/>
              <a:chOff x="1460500" y="1270000"/>
              <a:chExt cx="889000" cy="254000"/>
            </a:xfrm>
          </p:grpSpPr>
          <p:sp>
            <p:nvSpPr>
              <p:cNvPr id="72" name="Rechteck 71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3" name="Rechteck 72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4" name="Rechteck 73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64" name="Gruppieren 63" hidden="1"/>
            <p:cNvGrpSpPr/>
            <p:nvPr/>
          </p:nvGrpSpPr>
          <p:grpSpPr>
            <a:xfrm>
              <a:off x="168590" y="4945209"/>
              <a:ext cx="6862132" cy="1960609"/>
              <a:chOff x="1460500" y="1270000"/>
              <a:chExt cx="889000" cy="254000"/>
            </a:xfrm>
          </p:grpSpPr>
          <p:sp>
            <p:nvSpPr>
              <p:cNvPr id="69" name="Rechteck 68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0" name="Rechteck 69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1" name="Rechteck 70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65" name="Gruppieren 64"/>
            <p:cNvGrpSpPr/>
            <p:nvPr/>
          </p:nvGrpSpPr>
          <p:grpSpPr>
            <a:xfrm>
              <a:off x="168590" y="4945209"/>
              <a:ext cx="6862132" cy="1960609"/>
              <a:chOff x="1460500" y="1270000"/>
              <a:chExt cx="889000" cy="254000"/>
            </a:xfrm>
          </p:grpSpPr>
          <p:sp>
            <p:nvSpPr>
              <p:cNvPr id="66" name="Rechteck 65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7" name="Rechteck 66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8" name="Rechteck 67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51951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Ellipse 4"/>
          <p:cNvSpPr/>
          <p:nvPr/>
        </p:nvSpPr>
        <p:spPr>
          <a:xfrm>
            <a:off x="270457" y="244696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Ellipse 5"/>
          <p:cNvSpPr/>
          <p:nvPr/>
        </p:nvSpPr>
        <p:spPr>
          <a:xfrm>
            <a:off x="5679583" y="244696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Ellipse 6"/>
          <p:cNvSpPr/>
          <p:nvPr/>
        </p:nvSpPr>
        <p:spPr>
          <a:xfrm>
            <a:off x="5679583" y="567958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Ellipse 7"/>
          <p:cNvSpPr/>
          <p:nvPr/>
        </p:nvSpPr>
        <p:spPr>
          <a:xfrm>
            <a:off x="270457" y="567958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Ellipse 8"/>
          <p:cNvSpPr/>
          <p:nvPr/>
        </p:nvSpPr>
        <p:spPr>
          <a:xfrm>
            <a:off x="270457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Ellipse 9"/>
          <p:cNvSpPr/>
          <p:nvPr/>
        </p:nvSpPr>
        <p:spPr>
          <a:xfrm>
            <a:off x="5679583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Ellipse 10"/>
          <p:cNvSpPr/>
          <p:nvPr/>
        </p:nvSpPr>
        <p:spPr>
          <a:xfrm>
            <a:off x="2955711" y="244696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Ellipse 11"/>
          <p:cNvSpPr/>
          <p:nvPr/>
        </p:nvSpPr>
        <p:spPr>
          <a:xfrm>
            <a:off x="2955711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Ellipse 12"/>
          <p:cNvSpPr/>
          <p:nvPr/>
        </p:nvSpPr>
        <p:spPr>
          <a:xfrm>
            <a:off x="2955711" y="567958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24235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79923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88" progId="TCLayout.ActiveDocument.1">
                  <p:embed/>
                </p:oleObj>
              </mc:Choice>
              <mc:Fallback>
                <p:oleObj name="think-cell Folie" r:id="rId3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hteck 32"/>
          <p:cNvSpPr/>
          <p:nvPr/>
        </p:nvSpPr>
        <p:spPr>
          <a:xfrm>
            <a:off x="2365110" y="4587972"/>
            <a:ext cx="1380842" cy="1095451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4" name="Rechteck 33"/>
          <p:cNvSpPr/>
          <p:nvPr/>
        </p:nvSpPr>
        <p:spPr>
          <a:xfrm>
            <a:off x="2365110" y="5971423"/>
            <a:ext cx="1380842" cy="1095451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5" name="Rechteck 34"/>
          <p:cNvSpPr/>
          <p:nvPr/>
        </p:nvSpPr>
        <p:spPr>
          <a:xfrm>
            <a:off x="4033952" y="4587972"/>
            <a:ext cx="1380842" cy="1095451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6" name="Rechteck 35"/>
          <p:cNvSpPr/>
          <p:nvPr/>
        </p:nvSpPr>
        <p:spPr>
          <a:xfrm>
            <a:off x="4033952" y="5971423"/>
            <a:ext cx="1380842" cy="1095451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7" name="Rechteck 36"/>
          <p:cNvSpPr/>
          <p:nvPr/>
        </p:nvSpPr>
        <p:spPr>
          <a:xfrm>
            <a:off x="5702794" y="4587972"/>
            <a:ext cx="1380842" cy="1095451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8" name="Rechteck 37"/>
          <p:cNvSpPr/>
          <p:nvPr/>
        </p:nvSpPr>
        <p:spPr>
          <a:xfrm>
            <a:off x="5702794" y="5971423"/>
            <a:ext cx="1380842" cy="1095451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4" name="Rechteck 53"/>
          <p:cNvSpPr/>
          <p:nvPr/>
        </p:nvSpPr>
        <p:spPr>
          <a:xfrm>
            <a:off x="157837" y="120073"/>
            <a:ext cx="1380842" cy="1095451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5" name="Rechteck 54"/>
          <p:cNvSpPr/>
          <p:nvPr/>
        </p:nvSpPr>
        <p:spPr>
          <a:xfrm>
            <a:off x="1826679" y="120073"/>
            <a:ext cx="1380842" cy="1095451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6" name="Rechteck 55"/>
          <p:cNvSpPr/>
          <p:nvPr/>
        </p:nvSpPr>
        <p:spPr>
          <a:xfrm>
            <a:off x="157837" y="1503524"/>
            <a:ext cx="1380842" cy="1095451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7" name="Rechteck 56"/>
          <p:cNvSpPr/>
          <p:nvPr/>
        </p:nvSpPr>
        <p:spPr>
          <a:xfrm>
            <a:off x="1826679" y="1503524"/>
            <a:ext cx="1380842" cy="1095451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8" name="Rechteck 57"/>
          <p:cNvSpPr/>
          <p:nvPr/>
        </p:nvSpPr>
        <p:spPr>
          <a:xfrm>
            <a:off x="157837" y="2886975"/>
            <a:ext cx="1380842" cy="1095451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9" name="Rechteck 58"/>
          <p:cNvSpPr/>
          <p:nvPr/>
        </p:nvSpPr>
        <p:spPr>
          <a:xfrm>
            <a:off x="1826679" y="2886975"/>
            <a:ext cx="1380842" cy="1095451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61" name="Rechteckiger Pfeil 60"/>
          <p:cNvSpPr/>
          <p:nvPr/>
        </p:nvSpPr>
        <p:spPr>
          <a:xfrm flipV="1">
            <a:off x="560224" y="3427868"/>
            <a:ext cx="3605375" cy="2922299"/>
          </a:xfrm>
          <a:prstGeom prst="bentArrow">
            <a:avLst>
              <a:gd name="adj1" fmla="val 25000"/>
              <a:gd name="adj2" fmla="val 34285"/>
              <a:gd name="adj3" fmla="val 41520"/>
              <a:gd name="adj4" fmla="val 77057"/>
            </a:avLst>
          </a:prstGeom>
          <a:solidFill>
            <a:schemeClr val="accent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86537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9500" b="1" dirty="0">
              <a:solidFill>
                <a:schemeClr val="tx1"/>
              </a:solidFill>
            </a:endParaRPr>
          </a:p>
        </p:txBody>
      </p:sp>
      <p:sp>
        <p:nvSpPr>
          <p:cNvPr id="5" name="Freihandform 4"/>
          <p:cNvSpPr/>
          <p:nvPr/>
        </p:nvSpPr>
        <p:spPr>
          <a:xfrm>
            <a:off x="607944" y="2618235"/>
            <a:ext cx="5983425" cy="1962843"/>
          </a:xfrm>
          <a:custGeom>
            <a:avLst/>
            <a:gdLst/>
            <a:ahLst/>
            <a:cxnLst/>
            <a:rect l="l" t="t" r="r" b="b"/>
            <a:pathLst>
              <a:path w="5983425" h="1962843">
                <a:moveTo>
                  <a:pt x="5277217" y="765553"/>
                </a:moveTo>
                <a:cubicBezTo>
                  <a:pt x="5221828" y="765553"/>
                  <a:pt x="5173363" y="775691"/>
                  <a:pt x="5131821" y="795967"/>
                </a:cubicBezTo>
                <a:cubicBezTo>
                  <a:pt x="5090280" y="816244"/>
                  <a:pt x="5056156" y="845916"/>
                  <a:pt x="5029451" y="884985"/>
                </a:cubicBezTo>
                <a:cubicBezTo>
                  <a:pt x="5002745" y="924054"/>
                  <a:pt x="4982716" y="971036"/>
                  <a:pt x="4969364" y="1025930"/>
                </a:cubicBezTo>
                <a:cubicBezTo>
                  <a:pt x="4956011" y="1080824"/>
                  <a:pt x="4949335" y="1143384"/>
                  <a:pt x="4949335" y="1213609"/>
                </a:cubicBezTo>
                <a:cubicBezTo>
                  <a:pt x="4949335" y="1278889"/>
                  <a:pt x="4954775" y="1338976"/>
                  <a:pt x="4965655" y="1393870"/>
                </a:cubicBezTo>
                <a:cubicBezTo>
                  <a:pt x="4976535" y="1448765"/>
                  <a:pt x="4994091" y="1496488"/>
                  <a:pt x="5018324" y="1537041"/>
                </a:cubicBezTo>
                <a:cubicBezTo>
                  <a:pt x="5042556" y="1577593"/>
                  <a:pt x="5075443" y="1608997"/>
                  <a:pt x="5116985" y="1631251"/>
                </a:cubicBezTo>
                <a:cubicBezTo>
                  <a:pt x="5158527" y="1653506"/>
                  <a:pt x="5209959" y="1664633"/>
                  <a:pt x="5271283" y="1664633"/>
                </a:cubicBezTo>
                <a:cubicBezTo>
                  <a:pt x="5327661" y="1664633"/>
                  <a:pt x="5376620" y="1654495"/>
                  <a:pt x="5418162" y="1634218"/>
                </a:cubicBezTo>
                <a:cubicBezTo>
                  <a:pt x="5459704" y="1613942"/>
                  <a:pt x="5493827" y="1584517"/>
                  <a:pt x="5520532" y="1545942"/>
                </a:cubicBezTo>
                <a:cubicBezTo>
                  <a:pt x="5547238" y="1507368"/>
                  <a:pt x="5567020" y="1460634"/>
                  <a:pt x="5579878" y="1405739"/>
                </a:cubicBezTo>
                <a:cubicBezTo>
                  <a:pt x="5592736" y="1350845"/>
                  <a:pt x="5599165" y="1288285"/>
                  <a:pt x="5599165" y="1218060"/>
                </a:cubicBezTo>
                <a:cubicBezTo>
                  <a:pt x="5599165" y="1152780"/>
                  <a:pt x="5593972" y="1092694"/>
                  <a:pt x="5583587" y="1037799"/>
                </a:cubicBezTo>
                <a:cubicBezTo>
                  <a:pt x="5573201" y="982905"/>
                  <a:pt x="5555645" y="935181"/>
                  <a:pt x="5530918" y="894629"/>
                </a:cubicBezTo>
                <a:cubicBezTo>
                  <a:pt x="5506191" y="854076"/>
                  <a:pt x="5473303" y="822425"/>
                  <a:pt x="5432256" y="799677"/>
                </a:cubicBezTo>
                <a:cubicBezTo>
                  <a:pt x="5391210" y="776927"/>
                  <a:pt x="5339530" y="765553"/>
                  <a:pt x="5277217" y="765553"/>
                </a:cubicBezTo>
                <a:close/>
                <a:moveTo>
                  <a:pt x="2165751" y="495532"/>
                </a:moveTo>
                <a:cubicBezTo>
                  <a:pt x="2202348" y="495532"/>
                  <a:pt x="2232515" y="496769"/>
                  <a:pt x="2256253" y="499241"/>
                </a:cubicBezTo>
                <a:cubicBezTo>
                  <a:pt x="2279991" y="501714"/>
                  <a:pt x="2299031" y="505423"/>
                  <a:pt x="2313373" y="510369"/>
                </a:cubicBezTo>
                <a:cubicBezTo>
                  <a:pt x="2327714" y="515314"/>
                  <a:pt x="2337853" y="521496"/>
                  <a:pt x="2343787" y="528914"/>
                </a:cubicBezTo>
                <a:cubicBezTo>
                  <a:pt x="2349722" y="536332"/>
                  <a:pt x="2352689" y="544987"/>
                  <a:pt x="2352689" y="554877"/>
                </a:cubicBezTo>
                <a:lnTo>
                  <a:pt x="2352689" y="1302627"/>
                </a:lnTo>
                <a:cubicBezTo>
                  <a:pt x="2352689" y="1371863"/>
                  <a:pt x="2357140" y="1424779"/>
                  <a:pt x="2366041" y="1461376"/>
                </a:cubicBezTo>
                <a:cubicBezTo>
                  <a:pt x="2374943" y="1497972"/>
                  <a:pt x="2388544" y="1529375"/>
                  <a:pt x="2406842" y="1555586"/>
                </a:cubicBezTo>
                <a:cubicBezTo>
                  <a:pt x="2425140" y="1581797"/>
                  <a:pt x="2448383" y="1602073"/>
                  <a:pt x="2476572" y="1616415"/>
                </a:cubicBezTo>
                <a:cubicBezTo>
                  <a:pt x="2504761" y="1630757"/>
                  <a:pt x="2537648" y="1637927"/>
                  <a:pt x="2575233" y="1637927"/>
                </a:cubicBezTo>
                <a:cubicBezTo>
                  <a:pt x="2622709" y="1637927"/>
                  <a:pt x="2670433" y="1620619"/>
                  <a:pt x="2718404" y="1586000"/>
                </a:cubicBezTo>
                <a:cubicBezTo>
                  <a:pt x="2766374" y="1551382"/>
                  <a:pt x="2817560" y="1500939"/>
                  <a:pt x="2871959" y="1434670"/>
                </a:cubicBezTo>
                <a:lnTo>
                  <a:pt x="2871959" y="554877"/>
                </a:lnTo>
                <a:cubicBezTo>
                  <a:pt x="2871959" y="544987"/>
                  <a:pt x="2874679" y="536332"/>
                  <a:pt x="2880119" y="528914"/>
                </a:cubicBezTo>
                <a:cubicBezTo>
                  <a:pt x="2885559" y="521496"/>
                  <a:pt x="2895450" y="515314"/>
                  <a:pt x="2909792" y="510369"/>
                </a:cubicBezTo>
                <a:cubicBezTo>
                  <a:pt x="2924134" y="505423"/>
                  <a:pt x="2943174" y="501714"/>
                  <a:pt x="2966912" y="499241"/>
                </a:cubicBezTo>
                <a:cubicBezTo>
                  <a:pt x="2990650" y="496769"/>
                  <a:pt x="3020817" y="495532"/>
                  <a:pt x="3057413" y="495532"/>
                </a:cubicBezTo>
                <a:cubicBezTo>
                  <a:pt x="3094010" y="495532"/>
                  <a:pt x="3124177" y="496769"/>
                  <a:pt x="3147915" y="499241"/>
                </a:cubicBezTo>
                <a:cubicBezTo>
                  <a:pt x="3171653" y="501714"/>
                  <a:pt x="3190445" y="505423"/>
                  <a:pt x="3204293" y="510369"/>
                </a:cubicBezTo>
                <a:cubicBezTo>
                  <a:pt x="3218140" y="515314"/>
                  <a:pt x="3228031" y="521496"/>
                  <a:pt x="3233965" y="528914"/>
                </a:cubicBezTo>
                <a:cubicBezTo>
                  <a:pt x="3239900" y="536332"/>
                  <a:pt x="3242867" y="544987"/>
                  <a:pt x="3242867" y="554877"/>
                </a:cubicBezTo>
                <a:lnTo>
                  <a:pt x="3242867" y="1878276"/>
                </a:lnTo>
                <a:cubicBezTo>
                  <a:pt x="3242867" y="1888167"/>
                  <a:pt x="3240394" y="1896821"/>
                  <a:pt x="3235449" y="1904239"/>
                </a:cubicBezTo>
                <a:cubicBezTo>
                  <a:pt x="3230503" y="1911657"/>
                  <a:pt x="3221849" y="1917839"/>
                  <a:pt x="3209485" y="1922784"/>
                </a:cubicBezTo>
                <a:cubicBezTo>
                  <a:pt x="3197122" y="1927730"/>
                  <a:pt x="3180802" y="1931439"/>
                  <a:pt x="3160526" y="1933912"/>
                </a:cubicBezTo>
                <a:cubicBezTo>
                  <a:pt x="3140249" y="1936385"/>
                  <a:pt x="3114780" y="1937621"/>
                  <a:pt x="3084119" y="1937621"/>
                </a:cubicBezTo>
                <a:cubicBezTo>
                  <a:pt x="3051479" y="1937621"/>
                  <a:pt x="3025021" y="1936385"/>
                  <a:pt x="3004744" y="1933912"/>
                </a:cubicBezTo>
                <a:cubicBezTo>
                  <a:pt x="2984468" y="1931439"/>
                  <a:pt x="2968395" y="1927730"/>
                  <a:pt x="2956526" y="1922784"/>
                </a:cubicBezTo>
                <a:cubicBezTo>
                  <a:pt x="2944657" y="1917839"/>
                  <a:pt x="2936250" y="1911657"/>
                  <a:pt x="2931305" y="1904239"/>
                </a:cubicBezTo>
                <a:cubicBezTo>
                  <a:pt x="2926359" y="1896821"/>
                  <a:pt x="2923886" y="1888167"/>
                  <a:pt x="2923886" y="1878276"/>
                </a:cubicBezTo>
                <a:lnTo>
                  <a:pt x="2923886" y="1725462"/>
                </a:lnTo>
                <a:cubicBezTo>
                  <a:pt x="2850694" y="1804589"/>
                  <a:pt x="2776265" y="1863934"/>
                  <a:pt x="2700600" y="1903497"/>
                </a:cubicBezTo>
                <a:cubicBezTo>
                  <a:pt x="2624935" y="1943061"/>
                  <a:pt x="2546550" y="1962843"/>
                  <a:pt x="2465445" y="1962843"/>
                </a:cubicBezTo>
                <a:cubicBezTo>
                  <a:pt x="2374449" y="1962843"/>
                  <a:pt x="2298042" y="1948006"/>
                  <a:pt x="2236224" y="1918334"/>
                </a:cubicBezTo>
                <a:cubicBezTo>
                  <a:pt x="2174406" y="1888661"/>
                  <a:pt x="2124457" y="1848109"/>
                  <a:pt x="2086377" y="1796676"/>
                </a:cubicBezTo>
                <a:cubicBezTo>
                  <a:pt x="2048297" y="1745244"/>
                  <a:pt x="2021097" y="1685651"/>
                  <a:pt x="2004777" y="1617898"/>
                </a:cubicBezTo>
                <a:cubicBezTo>
                  <a:pt x="1988458" y="1550146"/>
                  <a:pt x="1980297" y="1465826"/>
                  <a:pt x="1980297" y="1364940"/>
                </a:cubicBezTo>
                <a:lnTo>
                  <a:pt x="1980297" y="554877"/>
                </a:lnTo>
                <a:cubicBezTo>
                  <a:pt x="1980297" y="544987"/>
                  <a:pt x="1983017" y="536332"/>
                  <a:pt x="1988458" y="528914"/>
                </a:cubicBezTo>
                <a:cubicBezTo>
                  <a:pt x="1993897" y="521496"/>
                  <a:pt x="2003788" y="515314"/>
                  <a:pt x="2018130" y="510369"/>
                </a:cubicBezTo>
                <a:cubicBezTo>
                  <a:pt x="2032472" y="505423"/>
                  <a:pt x="2051759" y="501714"/>
                  <a:pt x="2075992" y="499241"/>
                </a:cubicBezTo>
                <a:cubicBezTo>
                  <a:pt x="2100224" y="496769"/>
                  <a:pt x="2130144" y="495532"/>
                  <a:pt x="2165751" y="495532"/>
                </a:cubicBezTo>
                <a:close/>
                <a:moveTo>
                  <a:pt x="5290570" y="470311"/>
                </a:moveTo>
                <a:cubicBezTo>
                  <a:pt x="5409260" y="470311"/>
                  <a:pt x="5512125" y="486383"/>
                  <a:pt x="5599165" y="518529"/>
                </a:cubicBezTo>
                <a:cubicBezTo>
                  <a:pt x="5686204" y="550674"/>
                  <a:pt x="5758160" y="597903"/>
                  <a:pt x="5815033" y="660215"/>
                </a:cubicBezTo>
                <a:cubicBezTo>
                  <a:pt x="5871906" y="722528"/>
                  <a:pt x="5914189" y="799182"/>
                  <a:pt x="5941883" y="890178"/>
                </a:cubicBezTo>
                <a:cubicBezTo>
                  <a:pt x="5969578" y="981174"/>
                  <a:pt x="5983425" y="1085523"/>
                  <a:pt x="5983425" y="1203224"/>
                </a:cubicBezTo>
                <a:cubicBezTo>
                  <a:pt x="5983425" y="1315980"/>
                  <a:pt x="5968589" y="1418845"/>
                  <a:pt x="5938916" y="1511819"/>
                </a:cubicBezTo>
                <a:cubicBezTo>
                  <a:pt x="5909244" y="1604793"/>
                  <a:pt x="5864240" y="1684909"/>
                  <a:pt x="5803906" y="1752167"/>
                </a:cubicBezTo>
                <a:cubicBezTo>
                  <a:pt x="5743572" y="1819425"/>
                  <a:pt x="5667907" y="1871352"/>
                  <a:pt x="5576910" y="1907948"/>
                </a:cubicBezTo>
                <a:cubicBezTo>
                  <a:pt x="5485914" y="1944544"/>
                  <a:pt x="5379588" y="1962843"/>
                  <a:pt x="5257930" y="1962843"/>
                </a:cubicBezTo>
                <a:cubicBezTo>
                  <a:pt x="5140228" y="1962843"/>
                  <a:pt x="5037858" y="1946523"/>
                  <a:pt x="4950818" y="1913883"/>
                </a:cubicBezTo>
                <a:cubicBezTo>
                  <a:pt x="4863779" y="1881243"/>
                  <a:pt x="4791576" y="1833767"/>
                  <a:pt x="4734208" y="1771454"/>
                </a:cubicBezTo>
                <a:cubicBezTo>
                  <a:pt x="4676842" y="1709142"/>
                  <a:pt x="4634311" y="1632488"/>
                  <a:pt x="4606616" y="1541491"/>
                </a:cubicBezTo>
                <a:cubicBezTo>
                  <a:pt x="4578922" y="1450496"/>
                  <a:pt x="4565075" y="1346641"/>
                  <a:pt x="4565075" y="1229929"/>
                </a:cubicBezTo>
                <a:cubicBezTo>
                  <a:pt x="4565075" y="1117173"/>
                  <a:pt x="4580158" y="1014061"/>
                  <a:pt x="4610326" y="920592"/>
                </a:cubicBezTo>
                <a:cubicBezTo>
                  <a:pt x="4640493" y="827124"/>
                  <a:pt x="4685744" y="747008"/>
                  <a:pt x="4746077" y="680244"/>
                </a:cubicBezTo>
                <a:cubicBezTo>
                  <a:pt x="4806412" y="613481"/>
                  <a:pt x="4881830" y="561801"/>
                  <a:pt x="4972331" y="525205"/>
                </a:cubicBezTo>
                <a:cubicBezTo>
                  <a:pt x="5062832" y="488609"/>
                  <a:pt x="5168912" y="470311"/>
                  <a:pt x="5290570" y="470311"/>
                </a:cubicBezTo>
                <a:close/>
                <a:moveTo>
                  <a:pt x="861533" y="375358"/>
                </a:moveTo>
                <a:lnTo>
                  <a:pt x="590029" y="1191355"/>
                </a:lnTo>
                <a:lnTo>
                  <a:pt x="1134521" y="1191355"/>
                </a:lnTo>
                <a:lnTo>
                  <a:pt x="863017" y="375358"/>
                </a:lnTo>
                <a:close/>
                <a:moveTo>
                  <a:pt x="3865741" y="146879"/>
                </a:moveTo>
                <a:cubicBezTo>
                  <a:pt x="3902337" y="146879"/>
                  <a:pt x="3932751" y="148116"/>
                  <a:pt x="3956984" y="150588"/>
                </a:cubicBezTo>
                <a:cubicBezTo>
                  <a:pt x="3981216" y="153061"/>
                  <a:pt x="4000257" y="157017"/>
                  <a:pt x="4014104" y="162457"/>
                </a:cubicBezTo>
                <a:cubicBezTo>
                  <a:pt x="4027951" y="167897"/>
                  <a:pt x="4037842" y="174574"/>
                  <a:pt x="4043776" y="182486"/>
                </a:cubicBezTo>
                <a:cubicBezTo>
                  <a:pt x="4049711" y="190399"/>
                  <a:pt x="4052678" y="199301"/>
                  <a:pt x="4052678" y="209192"/>
                </a:cubicBezTo>
                <a:lnTo>
                  <a:pt x="4052678" y="504434"/>
                </a:lnTo>
                <a:lnTo>
                  <a:pt x="4340502" y="504434"/>
                </a:lnTo>
                <a:cubicBezTo>
                  <a:pt x="4350393" y="504434"/>
                  <a:pt x="4359048" y="506907"/>
                  <a:pt x="4366466" y="511852"/>
                </a:cubicBezTo>
                <a:cubicBezTo>
                  <a:pt x="4373884" y="516798"/>
                  <a:pt x="4380066" y="524958"/>
                  <a:pt x="4385011" y="536332"/>
                </a:cubicBezTo>
                <a:cubicBezTo>
                  <a:pt x="4389957" y="547707"/>
                  <a:pt x="4393666" y="563285"/>
                  <a:pt x="4396139" y="583066"/>
                </a:cubicBezTo>
                <a:cubicBezTo>
                  <a:pt x="4398611" y="602848"/>
                  <a:pt x="4399848" y="627081"/>
                  <a:pt x="4399848" y="655764"/>
                </a:cubicBezTo>
                <a:cubicBezTo>
                  <a:pt x="4399848" y="710164"/>
                  <a:pt x="4394902" y="748986"/>
                  <a:pt x="4385011" y="772229"/>
                </a:cubicBezTo>
                <a:cubicBezTo>
                  <a:pt x="4375120" y="795473"/>
                  <a:pt x="4360779" y="807095"/>
                  <a:pt x="4341986" y="807095"/>
                </a:cubicBezTo>
                <a:lnTo>
                  <a:pt x="4052678" y="807095"/>
                </a:lnTo>
                <a:lnTo>
                  <a:pt x="4052678" y="1428736"/>
                </a:lnTo>
                <a:cubicBezTo>
                  <a:pt x="4052678" y="1500939"/>
                  <a:pt x="4064053" y="1555092"/>
                  <a:pt x="4086802" y="1591193"/>
                </a:cubicBezTo>
                <a:cubicBezTo>
                  <a:pt x="4109551" y="1627295"/>
                  <a:pt x="4150103" y="1645346"/>
                  <a:pt x="4208459" y="1645346"/>
                </a:cubicBezTo>
                <a:cubicBezTo>
                  <a:pt x="4228241" y="1645346"/>
                  <a:pt x="4246045" y="1643615"/>
                  <a:pt x="4261870" y="1640153"/>
                </a:cubicBezTo>
                <a:cubicBezTo>
                  <a:pt x="4277696" y="1636691"/>
                  <a:pt x="4291790" y="1632735"/>
                  <a:pt x="4304153" y="1628284"/>
                </a:cubicBezTo>
                <a:cubicBezTo>
                  <a:pt x="4316517" y="1623833"/>
                  <a:pt x="4326902" y="1619877"/>
                  <a:pt x="4335310" y="1616415"/>
                </a:cubicBezTo>
                <a:cubicBezTo>
                  <a:pt x="4343717" y="1612953"/>
                  <a:pt x="4351382" y="1611222"/>
                  <a:pt x="4358306" y="1611222"/>
                </a:cubicBezTo>
                <a:cubicBezTo>
                  <a:pt x="4364241" y="1611222"/>
                  <a:pt x="4369928" y="1612953"/>
                  <a:pt x="4375368" y="1616415"/>
                </a:cubicBezTo>
                <a:cubicBezTo>
                  <a:pt x="4380808" y="1619877"/>
                  <a:pt x="4385011" y="1626800"/>
                  <a:pt x="4387979" y="1637186"/>
                </a:cubicBezTo>
                <a:cubicBezTo>
                  <a:pt x="4390946" y="1647571"/>
                  <a:pt x="4393666" y="1661666"/>
                  <a:pt x="4396139" y="1679469"/>
                </a:cubicBezTo>
                <a:cubicBezTo>
                  <a:pt x="4398611" y="1697273"/>
                  <a:pt x="4399848" y="1720022"/>
                  <a:pt x="4399848" y="1747716"/>
                </a:cubicBezTo>
                <a:cubicBezTo>
                  <a:pt x="4399848" y="1791236"/>
                  <a:pt x="4397128" y="1824618"/>
                  <a:pt x="4391688" y="1847861"/>
                </a:cubicBezTo>
                <a:cubicBezTo>
                  <a:pt x="4386248" y="1871105"/>
                  <a:pt x="4379077" y="1887425"/>
                  <a:pt x="4370175" y="1896821"/>
                </a:cubicBezTo>
                <a:cubicBezTo>
                  <a:pt x="4361273" y="1906217"/>
                  <a:pt x="4348168" y="1914625"/>
                  <a:pt x="4330859" y="1922043"/>
                </a:cubicBezTo>
                <a:cubicBezTo>
                  <a:pt x="4313550" y="1929461"/>
                  <a:pt x="4293274" y="1935890"/>
                  <a:pt x="4270030" y="1941330"/>
                </a:cubicBezTo>
                <a:cubicBezTo>
                  <a:pt x="4246786" y="1946770"/>
                  <a:pt x="4221565" y="1950973"/>
                  <a:pt x="4194365" y="1953941"/>
                </a:cubicBezTo>
                <a:cubicBezTo>
                  <a:pt x="4167165" y="1956908"/>
                  <a:pt x="4139718" y="1958392"/>
                  <a:pt x="4112023" y="1958392"/>
                </a:cubicBezTo>
                <a:cubicBezTo>
                  <a:pt x="4037842" y="1958392"/>
                  <a:pt x="3973551" y="1948995"/>
                  <a:pt x="3919151" y="1930203"/>
                </a:cubicBezTo>
                <a:cubicBezTo>
                  <a:pt x="3864751" y="1911410"/>
                  <a:pt x="3819748" y="1882479"/>
                  <a:pt x="3784141" y="1843410"/>
                </a:cubicBezTo>
                <a:cubicBezTo>
                  <a:pt x="3748534" y="1804341"/>
                  <a:pt x="3722323" y="1755134"/>
                  <a:pt x="3705509" y="1695789"/>
                </a:cubicBezTo>
                <a:cubicBezTo>
                  <a:pt x="3688694" y="1636444"/>
                  <a:pt x="3680287" y="1566219"/>
                  <a:pt x="3680287" y="1485114"/>
                </a:cubicBezTo>
                <a:lnTo>
                  <a:pt x="3680287" y="807095"/>
                </a:lnTo>
                <a:lnTo>
                  <a:pt x="3521538" y="807095"/>
                </a:lnTo>
                <a:cubicBezTo>
                  <a:pt x="3502746" y="807095"/>
                  <a:pt x="3488404" y="795473"/>
                  <a:pt x="3478513" y="772229"/>
                </a:cubicBezTo>
                <a:cubicBezTo>
                  <a:pt x="3468622" y="748986"/>
                  <a:pt x="3463677" y="710164"/>
                  <a:pt x="3463677" y="655764"/>
                </a:cubicBezTo>
                <a:cubicBezTo>
                  <a:pt x="3463677" y="627081"/>
                  <a:pt x="3464913" y="602848"/>
                  <a:pt x="3467386" y="583066"/>
                </a:cubicBezTo>
                <a:cubicBezTo>
                  <a:pt x="3469859" y="563285"/>
                  <a:pt x="3473568" y="547707"/>
                  <a:pt x="3478513" y="536332"/>
                </a:cubicBezTo>
                <a:cubicBezTo>
                  <a:pt x="3483458" y="524958"/>
                  <a:pt x="3489640" y="516798"/>
                  <a:pt x="3497058" y="511852"/>
                </a:cubicBezTo>
                <a:cubicBezTo>
                  <a:pt x="3504477" y="506907"/>
                  <a:pt x="3513131" y="504434"/>
                  <a:pt x="3523022" y="504434"/>
                </a:cubicBezTo>
                <a:lnTo>
                  <a:pt x="3680287" y="504434"/>
                </a:lnTo>
                <a:lnTo>
                  <a:pt x="3680287" y="209192"/>
                </a:lnTo>
                <a:cubicBezTo>
                  <a:pt x="3680287" y="199301"/>
                  <a:pt x="3683007" y="190399"/>
                  <a:pt x="3688447" y="182486"/>
                </a:cubicBezTo>
                <a:cubicBezTo>
                  <a:pt x="3693887" y="174574"/>
                  <a:pt x="3703778" y="167897"/>
                  <a:pt x="3718119" y="162457"/>
                </a:cubicBezTo>
                <a:cubicBezTo>
                  <a:pt x="3732461" y="157017"/>
                  <a:pt x="3751748" y="153061"/>
                  <a:pt x="3775981" y="150588"/>
                </a:cubicBezTo>
                <a:cubicBezTo>
                  <a:pt x="3800213" y="148116"/>
                  <a:pt x="3830133" y="146879"/>
                  <a:pt x="3865741" y="146879"/>
                </a:cubicBezTo>
                <a:close/>
                <a:moveTo>
                  <a:pt x="867468" y="0"/>
                </a:moveTo>
                <a:cubicBezTo>
                  <a:pt x="925824" y="0"/>
                  <a:pt x="972311" y="742"/>
                  <a:pt x="1006929" y="2225"/>
                </a:cubicBezTo>
                <a:cubicBezTo>
                  <a:pt x="1041547" y="3709"/>
                  <a:pt x="1068500" y="7171"/>
                  <a:pt x="1087787" y="12611"/>
                </a:cubicBezTo>
                <a:cubicBezTo>
                  <a:pt x="1107074" y="18050"/>
                  <a:pt x="1120921" y="26210"/>
                  <a:pt x="1129329" y="37090"/>
                </a:cubicBezTo>
                <a:cubicBezTo>
                  <a:pt x="1137736" y="47970"/>
                  <a:pt x="1144907" y="62807"/>
                  <a:pt x="1150841" y="81599"/>
                </a:cubicBezTo>
                <a:lnTo>
                  <a:pt x="1744293" y="1783323"/>
                </a:lnTo>
                <a:cubicBezTo>
                  <a:pt x="1756162" y="1818930"/>
                  <a:pt x="1763581" y="1847119"/>
                  <a:pt x="1766548" y="1867890"/>
                </a:cubicBezTo>
                <a:cubicBezTo>
                  <a:pt x="1769515" y="1888661"/>
                  <a:pt x="1765559" y="1904239"/>
                  <a:pt x="1754679" y="1914625"/>
                </a:cubicBezTo>
                <a:cubicBezTo>
                  <a:pt x="1743799" y="1925010"/>
                  <a:pt x="1724512" y="1931439"/>
                  <a:pt x="1696817" y="1933912"/>
                </a:cubicBezTo>
                <a:cubicBezTo>
                  <a:pt x="1669123" y="1936385"/>
                  <a:pt x="1631043" y="1937621"/>
                  <a:pt x="1582578" y="1937621"/>
                </a:cubicBezTo>
                <a:cubicBezTo>
                  <a:pt x="1532134" y="1937621"/>
                  <a:pt x="1492818" y="1936879"/>
                  <a:pt x="1464629" y="1935395"/>
                </a:cubicBezTo>
                <a:cubicBezTo>
                  <a:pt x="1436440" y="1933912"/>
                  <a:pt x="1414927" y="1930944"/>
                  <a:pt x="1400091" y="1926494"/>
                </a:cubicBezTo>
                <a:cubicBezTo>
                  <a:pt x="1385255" y="1922043"/>
                  <a:pt x="1374869" y="1915861"/>
                  <a:pt x="1368935" y="1907948"/>
                </a:cubicBezTo>
                <a:cubicBezTo>
                  <a:pt x="1363000" y="1900036"/>
                  <a:pt x="1358055" y="1889650"/>
                  <a:pt x="1354099" y="1876792"/>
                </a:cubicBezTo>
                <a:lnTo>
                  <a:pt x="1225023" y="1491048"/>
                </a:lnTo>
                <a:lnTo>
                  <a:pt x="503978" y="1491048"/>
                </a:lnTo>
                <a:lnTo>
                  <a:pt x="382321" y="1866407"/>
                </a:lnTo>
                <a:cubicBezTo>
                  <a:pt x="378364" y="1880254"/>
                  <a:pt x="373172" y="1891876"/>
                  <a:pt x="366743" y="1901272"/>
                </a:cubicBezTo>
                <a:cubicBezTo>
                  <a:pt x="360313" y="1910668"/>
                  <a:pt x="349928" y="1918087"/>
                  <a:pt x="335586" y="1923526"/>
                </a:cubicBezTo>
                <a:cubicBezTo>
                  <a:pt x="321244" y="1928966"/>
                  <a:pt x="300968" y="1932675"/>
                  <a:pt x="274757" y="1934654"/>
                </a:cubicBezTo>
                <a:cubicBezTo>
                  <a:pt x="248547" y="1936632"/>
                  <a:pt x="214176" y="1937621"/>
                  <a:pt x="171645" y="1937621"/>
                </a:cubicBezTo>
                <a:cubicBezTo>
                  <a:pt x="126147" y="1937621"/>
                  <a:pt x="90540" y="1936137"/>
                  <a:pt x="64824" y="1933170"/>
                </a:cubicBezTo>
                <a:cubicBezTo>
                  <a:pt x="39107" y="1930203"/>
                  <a:pt x="21304" y="1923032"/>
                  <a:pt x="11413" y="1911657"/>
                </a:cubicBezTo>
                <a:cubicBezTo>
                  <a:pt x="1522" y="1900283"/>
                  <a:pt x="-1940" y="1884210"/>
                  <a:pt x="1028" y="1863439"/>
                </a:cubicBezTo>
                <a:cubicBezTo>
                  <a:pt x="3995" y="1842668"/>
                  <a:pt x="11413" y="1814974"/>
                  <a:pt x="23282" y="1780356"/>
                </a:cubicBezTo>
                <a:lnTo>
                  <a:pt x="615251" y="77148"/>
                </a:lnTo>
                <a:cubicBezTo>
                  <a:pt x="621185" y="60334"/>
                  <a:pt x="628109" y="46734"/>
                  <a:pt x="636021" y="36349"/>
                </a:cubicBezTo>
                <a:cubicBezTo>
                  <a:pt x="643934" y="25963"/>
                  <a:pt x="656545" y="18050"/>
                  <a:pt x="673854" y="12611"/>
                </a:cubicBezTo>
                <a:cubicBezTo>
                  <a:pt x="691163" y="7171"/>
                  <a:pt x="715148" y="3709"/>
                  <a:pt x="745810" y="2225"/>
                </a:cubicBezTo>
                <a:cubicBezTo>
                  <a:pt x="776472" y="742"/>
                  <a:pt x="817024" y="0"/>
                  <a:pt x="867468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3900" b="1" dirty="0"/>
          </a:p>
        </p:txBody>
      </p:sp>
    </p:spTree>
    <p:extLst>
      <p:ext uri="{BB962C8B-B14F-4D97-AF65-F5344CB8AC3E}">
        <p14:creationId xmlns:p14="http://schemas.microsoft.com/office/powerpoint/2010/main" val="340287649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/>
          </p:cNvSpPr>
          <p:nvPr/>
        </p:nvSpPr>
        <p:spPr>
          <a:xfrm>
            <a:off x="270457" y="269656"/>
            <a:ext cx="1287890" cy="6660000"/>
          </a:xfrm>
          <a:prstGeom prst="rect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05061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/>
          <p:nvPr/>
        </p:nvSpPr>
        <p:spPr>
          <a:xfrm>
            <a:off x="2955711" y="269656"/>
            <a:ext cx="1287890" cy="6660000"/>
          </a:xfrm>
          <a:prstGeom prst="rect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345154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5679583" y="269656"/>
            <a:ext cx="1287890" cy="6660000"/>
          </a:xfrm>
          <a:prstGeom prst="rect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147924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/>
          <p:nvPr/>
        </p:nvSpPr>
        <p:spPr>
          <a:xfrm>
            <a:off x="269656" y="244696"/>
            <a:ext cx="6660000" cy="1287890"/>
          </a:xfrm>
          <a:prstGeom prst="rect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428219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Ellipse 4"/>
          <p:cNvSpPr/>
          <p:nvPr/>
        </p:nvSpPr>
        <p:spPr>
          <a:xfrm>
            <a:off x="270457" y="244696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336370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Ellipse 10"/>
          <p:cNvSpPr/>
          <p:nvPr/>
        </p:nvSpPr>
        <p:spPr>
          <a:xfrm>
            <a:off x="2955711" y="244696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753474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Ellipse 5"/>
          <p:cNvSpPr/>
          <p:nvPr/>
        </p:nvSpPr>
        <p:spPr>
          <a:xfrm>
            <a:off x="5679583" y="244696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08240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/>
          </p:cNvSpPr>
          <p:nvPr/>
        </p:nvSpPr>
        <p:spPr>
          <a:xfrm>
            <a:off x="2041302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>
            <a:spLocks/>
          </p:cNvSpPr>
          <p:nvPr/>
        </p:nvSpPr>
        <p:spPr>
          <a:xfrm>
            <a:off x="3478666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/>
          </p:cNvSpPr>
          <p:nvPr/>
        </p:nvSpPr>
        <p:spPr>
          <a:xfrm>
            <a:off x="4916030" y="4819091"/>
            <a:ext cx="2013626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3338446" y="5980429"/>
            <a:ext cx="1560131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2041302" y="5399760"/>
            <a:ext cx="3551475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5925366" y="5399760"/>
            <a:ext cx="1004290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1171977" y="5980429"/>
            <a:ext cx="1846266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/>
          </p:cNvSpPr>
          <p:nvPr/>
        </p:nvSpPr>
        <p:spPr>
          <a:xfrm>
            <a:off x="5218779" y="5980429"/>
            <a:ext cx="1710877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hteck 18"/>
          <p:cNvSpPr>
            <a:spLocks/>
          </p:cNvSpPr>
          <p:nvPr/>
        </p:nvSpPr>
        <p:spPr>
          <a:xfrm>
            <a:off x="1171977" y="6561098"/>
            <a:ext cx="2814828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hteck 19"/>
          <p:cNvSpPr>
            <a:spLocks/>
          </p:cNvSpPr>
          <p:nvPr/>
        </p:nvSpPr>
        <p:spPr>
          <a:xfrm>
            <a:off x="4304417" y="6561098"/>
            <a:ext cx="2625239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hteck 2"/>
          <p:cNvSpPr/>
          <p:nvPr/>
        </p:nvSpPr>
        <p:spPr>
          <a:xfrm>
            <a:off x="291385" y="4849595"/>
            <a:ext cx="1105973" cy="45396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Eingekerbter Richtungspfeil 14"/>
          <p:cNvSpPr/>
          <p:nvPr/>
        </p:nvSpPr>
        <p:spPr>
          <a:xfrm>
            <a:off x="637505" y="4445147"/>
            <a:ext cx="1334570" cy="1262862"/>
          </a:xfrm>
          <a:prstGeom prst="chevron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7" name="Rechteck 26"/>
          <p:cNvSpPr>
            <a:spLocks/>
          </p:cNvSpPr>
          <p:nvPr/>
        </p:nvSpPr>
        <p:spPr>
          <a:xfrm>
            <a:off x="269656" y="2955711"/>
            <a:ext cx="6660000" cy="1287890"/>
          </a:xfrm>
          <a:prstGeom prst="rect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609096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Ellipse 8"/>
          <p:cNvSpPr/>
          <p:nvPr/>
        </p:nvSpPr>
        <p:spPr>
          <a:xfrm>
            <a:off x="270457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/>
          </p:cNvSpPr>
          <p:nvPr/>
        </p:nvSpPr>
        <p:spPr>
          <a:xfrm>
            <a:off x="2041302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3478666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4916030" y="4819091"/>
            <a:ext cx="2013626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>
            <a:spLocks/>
          </p:cNvSpPr>
          <p:nvPr/>
        </p:nvSpPr>
        <p:spPr>
          <a:xfrm>
            <a:off x="3338446" y="5980429"/>
            <a:ext cx="1560131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/>
          </p:cNvSpPr>
          <p:nvPr/>
        </p:nvSpPr>
        <p:spPr>
          <a:xfrm>
            <a:off x="2041302" y="5399760"/>
            <a:ext cx="3551475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5925366" y="5399760"/>
            <a:ext cx="1004290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1171977" y="5980429"/>
            <a:ext cx="1846266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/>
          </p:cNvSpPr>
          <p:nvPr/>
        </p:nvSpPr>
        <p:spPr>
          <a:xfrm>
            <a:off x="5218779" y="5980429"/>
            <a:ext cx="1710877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hteck 13"/>
          <p:cNvSpPr>
            <a:spLocks/>
          </p:cNvSpPr>
          <p:nvPr/>
        </p:nvSpPr>
        <p:spPr>
          <a:xfrm>
            <a:off x="1171977" y="6561098"/>
            <a:ext cx="2814828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>
            <a:spLocks/>
          </p:cNvSpPr>
          <p:nvPr/>
        </p:nvSpPr>
        <p:spPr>
          <a:xfrm>
            <a:off x="4304417" y="6561098"/>
            <a:ext cx="2625239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hteck 15"/>
          <p:cNvSpPr/>
          <p:nvPr/>
        </p:nvSpPr>
        <p:spPr>
          <a:xfrm>
            <a:off x="291385" y="4849595"/>
            <a:ext cx="1105973" cy="45396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Eingekerbter Richtungspfeil 16"/>
          <p:cNvSpPr/>
          <p:nvPr/>
        </p:nvSpPr>
        <p:spPr>
          <a:xfrm>
            <a:off x="637505" y="4445147"/>
            <a:ext cx="1334570" cy="1262862"/>
          </a:xfrm>
          <a:prstGeom prst="chevron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28036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26173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88" progId="TCLayout.ActiveDocument.1">
                  <p:embed/>
                </p:oleObj>
              </mc:Choice>
              <mc:Fallback>
                <p:oleObj name="think-cell Folie" r:id="rId3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hteck 23"/>
          <p:cNvSpPr/>
          <p:nvPr/>
        </p:nvSpPr>
        <p:spPr>
          <a:xfrm>
            <a:off x="213731" y="1854476"/>
            <a:ext cx="540061" cy="526814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27" name="Rechteck 26"/>
          <p:cNvSpPr/>
          <p:nvPr/>
        </p:nvSpPr>
        <p:spPr>
          <a:xfrm>
            <a:off x="1935698" y="165916"/>
            <a:ext cx="540061" cy="526814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0" name="Rechteck 29"/>
          <p:cNvSpPr/>
          <p:nvPr/>
        </p:nvSpPr>
        <p:spPr>
          <a:xfrm>
            <a:off x="213731" y="165916"/>
            <a:ext cx="1361967" cy="1328560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1" name="Rechteck 30"/>
          <p:cNvSpPr/>
          <p:nvPr/>
        </p:nvSpPr>
        <p:spPr>
          <a:xfrm>
            <a:off x="1935698" y="1854476"/>
            <a:ext cx="1361967" cy="1328560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2" name="Rechteck 31"/>
          <p:cNvSpPr/>
          <p:nvPr/>
        </p:nvSpPr>
        <p:spPr>
          <a:xfrm>
            <a:off x="3899040" y="5869530"/>
            <a:ext cx="1161530" cy="1128123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3" name="Rechteck 32"/>
          <p:cNvSpPr/>
          <p:nvPr/>
        </p:nvSpPr>
        <p:spPr>
          <a:xfrm>
            <a:off x="5821443" y="3980534"/>
            <a:ext cx="1161530" cy="1128123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4" name="Rechteck 33"/>
          <p:cNvSpPr/>
          <p:nvPr/>
        </p:nvSpPr>
        <p:spPr>
          <a:xfrm>
            <a:off x="3899040" y="3980534"/>
            <a:ext cx="1161530" cy="1128123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5" name="Rechteck 34"/>
          <p:cNvSpPr/>
          <p:nvPr/>
        </p:nvSpPr>
        <p:spPr>
          <a:xfrm>
            <a:off x="5821443" y="5869530"/>
            <a:ext cx="1161530" cy="1128123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13" name="Rechteck 12"/>
          <p:cNvSpPr/>
          <p:nvPr/>
        </p:nvSpPr>
        <p:spPr>
          <a:xfrm>
            <a:off x="139843" y="92027"/>
            <a:ext cx="3240666" cy="3177646"/>
          </a:xfrm>
          <a:prstGeom prst="rect">
            <a:avLst/>
          </a:prstGeom>
          <a:noFill/>
          <a:ln w="152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14" name="Rechteck 13"/>
          <p:cNvSpPr/>
          <p:nvPr/>
        </p:nvSpPr>
        <p:spPr>
          <a:xfrm>
            <a:off x="3825153" y="3884660"/>
            <a:ext cx="3240666" cy="3177646"/>
          </a:xfrm>
          <a:prstGeom prst="rect">
            <a:avLst/>
          </a:prstGeom>
          <a:noFill/>
          <a:ln w="152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12" name="Rechteckiger Pfeil 11"/>
          <p:cNvSpPr/>
          <p:nvPr/>
        </p:nvSpPr>
        <p:spPr>
          <a:xfrm flipV="1">
            <a:off x="673071" y="3409395"/>
            <a:ext cx="3605375" cy="2922299"/>
          </a:xfrm>
          <a:prstGeom prst="bentArrow">
            <a:avLst>
              <a:gd name="adj1" fmla="val 25000"/>
              <a:gd name="adj2" fmla="val 34285"/>
              <a:gd name="adj3" fmla="val 41520"/>
              <a:gd name="adj4" fmla="val 77057"/>
            </a:avLst>
          </a:prstGeom>
          <a:solidFill>
            <a:schemeClr val="accent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798404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Ellipse 11"/>
          <p:cNvSpPr/>
          <p:nvPr/>
        </p:nvSpPr>
        <p:spPr>
          <a:xfrm>
            <a:off x="2955711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/>
          </p:cNvSpPr>
          <p:nvPr/>
        </p:nvSpPr>
        <p:spPr>
          <a:xfrm>
            <a:off x="2041302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3478666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4916030" y="4819091"/>
            <a:ext cx="2013626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>
            <a:spLocks/>
          </p:cNvSpPr>
          <p:nvPr/>
        </p:nvSpPr>
        <p:spPr>
          <a:xfrm>
            <a:off x="3338446" y="5980429"/>
            <a:ext cx="1560131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>
            <a:spLocks/>
          </p:cNvSpPr>
          <p:nvPr/>
        </p:nvSpPr>
        <p:spPr>
          <a:xfrm>
            <a:off x="2041302" y="5399760"/>
            <a:ext cx="3551475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/>
          </p:cNvSpPr>
          <p:nvPr/>
        </p:nvSpPr>
        <p:spPr>
          <a:xfrm>
            <a:off x="5925366" y="5399760"/>
            <a:ext cx="1004290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1171977" y="5980429"/>
            <a:ext cx="1846266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/>
          </p:cNvSpPr>
          <p:nvPr/>
        </p:nvSpPr>
        <p:spPr>
          <a:xfrm>
            <a:off x="5218779" y="5980429"/>
            <a:ext cx="1710877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hteck 13"/>
          <p:cNvSpPr>
            <a:spLocks/>
          </p:cNvSpPr>
          <p:nvPr/>
        </p:nvSpPr>
        <p:spPr>
          <a:xfrm>
            <a:off x="1171977" y="6561098"/>
            <a:ext cx="2814828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>
            <a:spLocks/>
          </p:cNvSpPr>
          <p:nvPr/>
        </p:nvSpPr>
        <p:spPr>
          <a:xfrm>
            <a:off x="4304417" y="6561098"/>
            <a:ext cx="2625239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hteck 15"/>
          <p:cNvSpPr/>
          <p:nvPr/>
        </p:nvSpPr>
        <p:spPr>
          <a:xfrm>
            <a:off x="291385" y="4849595"/>
            <a:ext cx="1105973" cy="45396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Eingekerbter Richtungspfeil 16"/>
          <p:cNvSpPr/>
          <p:nvPr/>
        </p:nvSpPr>
        <p:spPr>
          <a:xfrm>
            <a:off x="637505" y="4445147"/>
            <a:ext cx="1334570" cy="1262862"/>
          </a:xfrm>
          <a:prstGeom prst="chevron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637564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Ellipse 9"/>
          <p:cNvSpPr/>
          <p:nvPr/>
        </p:nvSpPr>
        <p:spPr>
          <a:xfrm>
            <a:off x="5679583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/>
          </p:cNvSpPr>
          <p:nvPr/>
        </p:nvSpPr>
        <p:spPr>
          <a:xfrm>
            <a:off x="2041302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3478666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4916030" y="4819091"/>
            <a:ext cx="2013626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>
            <a:spLocks/>
          </p:cNvSpPr>
          <p:nvPr/>
        </p:nvSpPr>
        <p:spPr>
          <a:xfrm>
            <a:off x="3338446" y="5980429"/>
            <a:ext cx="1560131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>
            <a:spLocks/>
          </p:cNvSpPr>
          <p:nvPr/>
        </p:nvSpPr>
        <p:spPr>
          <a:xfrm>
            <a:off x="2041302" y="5399760"/>
            <a:ext cx="3551475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5925366" y="5399760"/>
            <a:ext cx="1004290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1171977" y="5980429"/>
            <a:ext cx="1846266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/>
          </p:cNvSpPr>
          <p:nvPr/>
        </p:nvSpPr>
        <p:spPr>
          <a:xfrm>
            <a:off x="5218779" y="5980429"/>
            <a:ext cx="1710877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hteck 13"/>
          <p:cNvSpPr>
            <a:spLocks/>
          </p:cNvSpPr>
          <p:nvPr/>
        </p:nvSpPr>
        <p:spPr>
          <a:xfrm>
            <a:off x="1171977" y="6561098"/>
            <a:ext cx="2814828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>
            <a:spLocks/>
          </p:cNvSpPr>
          <p:nvPr/>
        </p:nvSpPr>
        <p:spPr>
          <a:xfrm>
            <a:off x="4304417" y="6561098"/>
            <a:ext cx="2625239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hteck 15"/>
          <p:cNvSpPr/>
          <p:nvPr/>
        </p:nvSpPr>
        <p:spPr>
          <a:xfrm>
            <a:off x="291385" y="4849595"/>
            <a:ext cx="1105973" cy="45396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Eingekerbter Richtungspfeil 16"/>
          <p:cNvSpPr/>
          <p:nvPr/>
        </p:nvSpPr>
        <p:spPr>
          <a:xfrm>
            <a:off x="637505" y="4445147"/>
            <a:ext cx="1334570" cy="1262862"/>
          </a:xfrm>
          <a:prstGeom prst="chevron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041391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>
            <a:spLocks/>
          </p:cNvSpPr>
          <p:nvPr/>
        </p:nvSpPr>
        <p:spPr>
          <a:xfrm>
            <a:off x="269656" y="2955711"/>
            <a:ext cx="6660000" cy="1287890"/>
          </a:xfrm>
          <a:prstGeom prst="rect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982992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Ellipse 8"/>
          <p:cNvSpPr/>
          <p:nvPr/>
        </p:nvSpPr>
        <p:spPr>
          <a:xfrm>
            <a:off x="270457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835777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Ellipse 11"/>
          <p:cNvSpPr/>
          <p:nvPr/>
        </p:nvSpPr>
        <p:spPr>
          <a:xfrm>
            <a:off x="2955711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878327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Ellipse 9"/>
          <p:cNvSpPr/>
          <p:nvPr/>
        </p:nvSpPr>
        <p:spPr>
          <a:xfrm>
            <a:off x="5679583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86620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/>
          <p:nvPr/>
        </p:nvSpPr>
        <p:spPr>
          <a:xfrm>
            <a:off x="269656" y="5679581"/>
            <a:ext cx="6660000" cy="1287890"/>
          </a:xfrm>
          <a:prstGeom prst="rect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339817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Ellipse 7"/>
          <p:cNvSpPr/>
          <p:nvPr/>
        </p:nvSpPr>
        <p:spPr>
          <a:xfrm>
            <a:off x="270457" y="567958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188813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Ellipse 12"/>
          <p:cNvSpPr/>
          <p:nvPr/>
        </p:nvSpPr>
        <p:spPr>
          <a:xfrm>
            <a:off x="2955711" y="567958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37479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Ellipse 6"/>
          <p:cNvSpPr/>
          <p:nvPr/>
        </p:nvSpPr>
        <p:spPr>
          <a:xfrm>
            <a:off x="5679583" y="567958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50749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32547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88" progId="TCLayout.ActiveDocument.1">
                  <p:embed/>
                </p:oleObj>
              </mc:Choice>
              <mc:Fallback>
                <p:oleObj name="think-cell Folie" r:id="rId3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hteck 23"/>
          <p:cNvSpPr/>
          <p:nvPr/>
        </p:nvSpPr>
        <p:spPr>
          <a:xfrm>
            <a:off x="213731" y="1854476"/>
            <a:ext cx="540061" cy="526814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27" name="Rechteck 26"/>
          <p:cNvSpPr/>
          <p:nvPr/>
        </p:nvSpPr>
        <p:spPr>
          <a:xfrm>
            <a:off x="1935698" y="165916"/>
            <a:ext cx="540061" cy="526814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0" name="Rechteck 29"/>
          <p:cNvSpPr/>
          <p:nvPr/>
        </p:nvSpPr>
        <p:spPr>
          <a:xfrm>
            <a:off x="213731" y="165916"/>
            <a:ext cx="1361967" cy="1328560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1" name="Rechteck 30"/>
          <p:cNvSpPr/>
          <p:nvPr/>
        </p:nvSpPr>
        <p:spPr>
          <a:xfrm>
            <a:off x="1935698" y="1854476"/>
            <a:ext cx="1361967" cy="1328560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2" name="Rechteck 31"/>
          <p:cNvSpPr/>
          <p:nvPr/>
        </p:nvSpPr>
        <p:spPr>
          <a:xfrm>
            <a:off x="3529583" y="5711264"/>
            <a:ext cx="1361967" cy="1328560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3" name="Rechteck 32"/>
          <p:cNvSpPr/>
          <p:nvPr/>
        </p:nvSpPr>
        <p:spPr>
          <a:xfrm>
            <a:off x="5652423" y="3621831"/>
            <a:ext cx="1361967" cy="1328560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4" name="Rechteck 33"/>
          <p:cNvSpPr/>
          <p:nvPr/>
        </p:nvSpPr>
        <p:spPr>
          <a:xfrm>
            <a:off x="3529583" y="3621831"/>
            <a:ext cx="1361967" cy="1328560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5" name="Rechteck 34"/>
          <p:cNvSpPr/>
          <p:nvPr/>
        </p:nvSpPr>
        <p:spPr>
          <a:xfrm>
            <a:off x="5652423" y="5711264"/>
            <a:ext cx="1361967" cy="1328560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6" name="Rechteck 35"/>
          <p:cNvSpPr/>
          <p:nvPr/>
        </p:nvSpPr>
        <p:spPr>
          <a:xfrm>
            <a:off x="139843" y="92027"/>
            <a:ext cx="3240666" cy="3177646"/>
          </a:xfrm>
          <a:prstGeom prst="rect">
            <a:avLst/>
          </a:prstGeom>
          <a:noFill/>
          <a:ln w="152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7" name="Rechteck 36"/>
          <p:cNvSpPr/>
          <p:nvPr/>
        </p:nvSpPr>
        <p:spPr>
          <a:xfrm>
            <a:off x="3455930" y="3535821"/>
            <a:ext cx="3240666" cy="3177646"/>
          </a:xfrm>
          <a:prstGeom prst="rect">
            <a:avLst/>
          </a:prstGeom>
          <a:noFill/>
          <a:ln w="152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77" name="Rechteckiger Pfeil 76"/>
          <p:cNvSpPr/>
          <p:nvPr/>
        </p:nvSpPr>
        <p:spPr>
          <a:xfrm flipV="1">
            <a:off x="673071" y="3409395"/>
            <a:ext cx="3605375" cy="2922299"/>
          </a:xfrm>
          <a:prstGeom prst="bentArrow">
            <a:avLst>
              <a:gd name="adj1" fmla="val 25000"/>
              <a:gd name="adj2" fmla="val 34285"/>
              <a:gd name="adj3" fmla="val 41520"/>
              <a:gd name="adj4" fmla="val 77057"/>
            </a:avLst>
          </a:prstGeom>
          <a:solidFill>
            <a:schemeClr val="accent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530031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961814" y="961814"/>
            <a:ext cx="5275686" cy="5275686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Multiplizieren 4"/>
          <p:cNvSpPr/>
          <p:nvPr/>
        </p:nvSpPr>
        <p:spPr>
          <a:xfrm>
            <a:off x="-27093" y="-4741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Multiplizieren 5"/>
          <p:cNvSpPr/>
          <p:nvPr/>
        </p:nvSpPr>
        <p:spPr>
          <a:xfrm>
            <a:off x="5228273" y="-4741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Multiplizieren 6"/>
          <p:cNvSpPr/>
          <p:nvPr/>
        </p:nvSpPr>
        <p:spPr>
          <a:xfrm>
            <a:off x="-27093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Multiplizieren 7"/>
          <p:cNvSpPr/>
          <p:nvPr/>
        </p:nvSpPr>
        <p:spPr>
          <a:xfrm>
            <a:off x="5228273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604387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961814" y="961814"/>
            <a:ext cx="5275686" cy="5275686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Multiplizieren 4"/>
          <p:cNvSpPr/>
          <p:nvPr/>
        </p:nvSpPr>
        <p:spPr>
          <a:xfrm>
            <a:off x="2590430" y="-4741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Multiplizieren 5"/>
          <p:cNvSpPr/>
          <p:nvPr/>
        </p:nvSpPr>
        <p:spPr>
          <a:xfrm>
            <a:off x="5228273" y="2590430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Multiplizieren 6"/>
          <p:cNvSpPr/>
          <p:nvPr/>
        </p:nvSpPr>
        <p:spPr>
          <a:xfrm>
            <a:off x="-27093" y="2590429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Multiplizieren 7"/>
          <p:cNvSpPr/>
          <p:nvPr/>
        </p:nvSpPr>
        <p:spPr>
          <a:xfrm>
            <a:off x="2590429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187733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961814" y="961814"/>
            <a:ext cx="5275686" cy="5275686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Multiplizieren 4"/>
          <p:cNvSpPr/>
          <p:nvPr/>
        </p:nvSpPr>
        <p:spPr>
          <a:xfrm>
            <a:off x="1490133" y="-4741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Multiplizieren 5"/>
          <p:cNvSpPr/>
          <p:nvPr/>
        </p:nvSpPr>
        <p:spPr>
          <a:xfrm>
            <a:off x="3714434" y="0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Multiplizieren 6"/>
          <p:cNvSpPr/>
          <p:nvPr/>
        </p:nvSpPr>
        <p:spPr>
          <a:xfrm>
            <a:off x="1490133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Multiplizieren 7"/>
          <p:cNvSpPr/>
          <p:nvPr/>
        </p:nvSpPr>
        <p:spPr>
          <a:xfrm>
            <a:off x="3714434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Multiplizieren 8"/>
          <p:cNvSpPr/>
          <p:nvPr/>
        </p:nvSpPr>
        <p:spPr>
          <a:xfrm>
            <a:off x="-47413" y="1478280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Multiplizieren 9"/>
          <p:cNvSpPr/>
          <p:nvPr/>
        </p:nvSpPr>
        <p:spPr>
          <a:xfrm>
            <a:off x="-47413" y="3702581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Multiplizieren 10"/>
          <p:cNvSpPr/>
          <p:nvPr/>
        </p:nvSpPr>
        <p:spPr>
          <a:xfrm>
            <a:off x="5228273" y="1478280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Multiplizieren 11"/>
          <p:cNvSpPr/>
          <p:nvPr/>
        </p:nvSpPr>
        <p:spPr>
          <a:xfrm>
            <a:off x="5228273" y="3702581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164670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961814" y="961814"/>
            <a:ext cx="5275686" cy="5275686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Multiplizieren 4"/>
          <p:cNvSpPr/>
          <p:nvPr/>
        </p:nvSpPr>
        <p:spPr>
          <a:xfrm>
            <a:off x="2590430" y="-4741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Multiplizieren 5"/>
          <p:cNvSpPr/>
          <p:nvPr/>
        </p:nvSpPr>
        <p:spPr>
          <a:xfrm>
            <a:off x="5228273" y="2590430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Multiplizieren 6"/>
          <p:cNvSpPr/>
          <p:nvPr/>
        </p:nvSpPr>
        <p:spPr>
          <a:xfrm>
            <a:off x="-27093" y="2590429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Multiplizieren 7"/>
          <p:cNvSpPr/>
          <p:nvPr/>
        </p:nvSpPr>
        <p:spPr>
          <a:xfrm>
            <a:off x="2590429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Multiplizieren 8"/>
          <p:cNvSpPr/>
          <p:nvPr/>
        </p:nvSpPr>
        <p:spPr>
          <a:xfrm>
            <a:off x="1076591" y="-4741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Multiplizieren 9"/>
          <p:cNvSpPr/>
          <p:nvPr/>
        </p:nvSpPr>
        <p:spPr>
          <a:xfrm>
            <a:off x="1076590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Multiplizieren 10"/>
          <p:cNvSpPr/>
          <p:nvPr/>
        </p:nvSpPr>
        <p:spPr>
          <a:xfrm>
            <a:off x="4124221" y="-4741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Multiplizieren 11"/>
          <p:cNvSpPr/>
          <p:nvPr/>
        </p:nvSpPr>
        <p:spPr>
          <a:xfrm>
            <a:off x="4124220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Multiplizieren 12"/>
          <p:cNvSpPr/>
          <p:nvPr/>
        </p:nvSpPr>
        <p:spPr>
          <a:xfrm>
            <a:off x="5228273" y="1076589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Multiplizieren 13"/>
          <p:cNvSpPr/>
          <p:nvPr/>
        </p:nvSpPr>
        <p:spPr>
          <a:xfrm>
            <a:off x="-27093" y="1076588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Multiplizieren 14"/>
          <p:cNvSpPr/>
          <p:nvPr/>
        </p:nvSpPr>
        <p:spPr>
          <a:xfrm>
            <a:off x="5228273" y="4010211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Multiplizieren 15"/>
          <p:cNvSpPr/>
          <p:nvPr/>
        </p:nvSpPr>
        <p:spPr>
          <a:xfrm>
            <a:off x="-27093" y="4010210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430900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>
            <a:spLocks noChangeAspect="1"/>
          </p:cNvSpPr>
          <p:nvPr/>
        </p:nvSpPr>
        <p:spPr>
          <a:xfrm>
            <a:off x="157837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hteck 4"/>
          <p:cNvSpPr>
            <a:spLocks noChangeAspect="1"/>
          </p:cNvSpPr>
          <p:nvPr/>
        </p:nvSpPr>
        <p:spPr>
          <a:xfrm>
            <a:off x="4716585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cxnSp>
        <p:nvCxnSpPr>
          <p:cNvPr id="7" name="Gerader Verbinder 6"/>
          <p:cNvCxnSpPr/>
          <p:nvPr/>
        </p:nvCxnSpPr>
        <p:spPr>
          <a:xfrm>
            <a:off x="2411699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782845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links und rechts 14"/>
          <p:cNvSpPr/>
          <p:nvPr/>
        </p:nvSpPr>
        <p:spPr>
          <a:xfrm>
            <a:off x="2576292" y="4306958"/>
            <a:ext cx="2061839" cy="1484242"/>
          </a:xfrm>
          <a:prstGeom prst="leftRightArrow">
            <a:avLst>
              <a:gd name="adj1" fmla="val 50000"/>
              <a:gd name="adj2" fmla="val 45351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812772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>
            <a:spLocks noChangeAspect="1"/>
          </p:cNvSpPr>
          <p:nvPr/>
        </p:nvSpPr>
        <p:spPr>
          <a:xfrm rot="3951977">
            <a:off x="-450183" y="1385483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hteck 4"/>
          <p:cNvSpPr>
            <a:spLocks noChangeAspect="1"/>
          </p:cNvSpPr>
          <p:nvPr/>
        </p:nvSpPr>
        <p:spPr>
          <a:xfrm rot="4143061">
            <a:off x="5268541" y="2425781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cxnSp>
        <p:nvCxnSpPr>
          <p:cNvPr id="7" name="Gerader Verbinder 6"/>
          <p:cNvCxnSpPr/>
          <p:nvPr/>
        </p:nvCxnSpPr>
        <p:spPr>
          <a:xfrm>
            <a:off x="2411699" y="2555483"/>
            <a:ext cx="0" cy="3410745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782845" y="2555483"/>
            <a:ext cx="0" cy="3410745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links und rechts 14"/>
          <p:cNvSpPr/>
          <p:nvPr/>
        </p:nvSpPr>
        <p:spPr>
          <a:xfrm>
            <a:off x="2576292" y="4306958"/>
            <a:ext cx="2061839" cy="1484242"/>
          </a:xfrm>
          <a:prstGeom prst="leftRightArrow">
            <a:avLst>
              <a:gd name="adj1" fmla="val 50000"/>
              <a:gd name="adj2" fmla="val 45351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910222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>
            <a:spLocks noChangeAspect="1"/>
          </p:cNvSpPr>
          <p:nvPr/>
        </p:nvSpPr>
        <p:spPr>
          <a:xfrm>
            <a:off x="157837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hteck 4"/>
          <p:cNvSpPr>
            <a:spLocks noChangeAspect="1"/>
          </p:cNvSpPr>
          <p:nvPr/>
        </p:nvSpPr>
        <p:spPr>
          <a:xfrm>
            <a:off x="4716585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cxnSp>
        <p:nvCxnSpPr>
          <p:cNvPr id="7" name="Gerader Verbinder 6"/>
          <p:cNvCxnSpPr/>
          <p:nvPr/>
        </p:nvCxnSpPr>
        <p:spPr>
          <a:xfrm>
            <a:off x="231717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782845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links und rechts 14"/>
          <p:cNvSpPr/>
          <p:nvPr/>
        </p:nvSpPr>
        <p:spPr>
          <a:xfrm>
            <a:off x="404192" y="4306958"/>
            <a:ext cx="4233940" cy="1484242"/>
          </a:xfrm>
          <a:prstGeom prst="leftRightArrow">
            <a:avLst>
              <a:gd name="adj1" fmla="val 50000"/>
              <a:gd name="adj2" fmla="val 45351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647092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>
            <a:spLocks noChangeAspect="1"/>
          </p:cNvSpPr>
          <p:nvPr/>
        </p:nvSpPr>
        <p:spPr>
          <a:xfrm>
            <a:off x="157837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hteck 4"/>
          <p:cNvSpPr>
            <a:spLocks noChangeAspect="1"/>
          </p:cNvSpPr>
          <p:nvPr/>
        </p:nvSpPr>
        <p:spPr>
          <a:xfrm>
            <a:off x="4716585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cxnSp>
        <p:nvCxnSpPr>
          <p:cNvPr id="7" name="Gerader Verbinder 6"/>
          <p:cNvCxnSpPr/>
          <p:nvPr/>
        </p:nvCxnSpPr>
        <p:spPr>
          <a:xfrm>
            <a:off x="1327837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5886585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links und rechts 14"/>
          <p:cNvSpPr/>
          <p:nvPr/>
        </p:nvSpPr>
        <p:spPr>
          <a:xfrm>
            <a:off x="1506310" y="4306958"/>
            <a:ext cx="4233940" cy="1484242"/>
          </a:xfrm>
          <a:prstGeom prst="leftRightArrow">
            <a:avLst>
              <a:gd name="adj1" fmla="val 50000"/>
              <a:gd name="adj2" fmla="val 45351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39177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>
            <a:spLocks noChangeAspect="1"/>
          </p:cNvSpPr>
          <p:nvPr/>
        </p:nvSpPr>
        <p:spPr>
          <a:xfrm>
            <a:off x="157837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hteck 4"/>
          <p:cNvSpPr>
            <a:spLocks noChangeAspect="1"/>
          </p:cNvSpPr>
          <p:nvPr/>
        </p:nvSpPr>
        <p:spPr>
          <a:xfrm>
            <a:off x="4716585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cxnSp>
        <p:nvCxnSpPr>
          <p:cNvPr id="7" name="Gerader Verbinder 6"/>
          <p:cNvCxnSpPr/>
          <p:nvPr/>
        </p:nvCxnSpPr>
        <p:spPr>
          <a:xfrm>
            <a:off x="2427140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6978268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links und rechts 14"/>
          <p:cNvSpPr/>
          <p:nvPr/>
        </p:nvSpPr>
        <p:spPr>
          <a:xfrm>
            <a:off x="2599615" y="4306958"/>
            <a:ext cx="4233940" cy="1484242"/>
          </a:xfrm>
          <a:prstGeom prst="leftRightArrow">
            <a:avLst>
              <a:gd name="adj1" fmla="val 50000"/>
              <a:gd name="adj2" fmla="val 45351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439893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feil nach links und rechts 14"/>
          <p:cNvSpPr/>
          <p:nvPr/>
        </p:nvSpPr>
        <p:spPr>
          <a:xfrm rot="18913872">
            <a:off x="1628102" y="2817013"/>
            <a:ext cx="4121931" cy="1484242"/>
          </a:xfrm>
          <a:prstGeom prst="leftRightArrow">
            <a:avLst>
              <a:gd name="adj1" fmla="val 38219"/>
              <a:gd name="adj2" fmla="val 57795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Multiplizieren 7"/>
          <p:cNvSpPr/>
          <p:nvPr/>
        </p:nvSpPr>
        <p:spPr>
          <a:xfrm>
            <a:off x="561187" y="4707657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Multiplizieren 8"/>
          <p:cNvSpPr/>
          <p:nvPr/>
        </p:nvSpPr>
        <p:spPr>
          <a:xfrm>
            <a:off x="4798494" y="392158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13976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44841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88" progId="TCLayout.ActiveDocument.1">
                  <p:embed/>
                </p:oleObj>
              </mc:Choice>
              <mc:Fallback>
                <p:oleObj name="think-cell Folie" r:id="rId3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6" name="Gruppieren 45"/>
          <p:cNvGrpSpPr/>
          <p:nvPr/>
        </p:nvGrpSpPr>
        <p:grpSpPr>
          <a:xfrm>
            <a:off x="206189" y="206194"/>
            <a:ext cx="6786930" cy="6786926"/>
            <a:chOff x="600956" y="600962"/>
            <a:chExt cx="5997395" cy="5997390"/>
          </a:xfrm>
        </p:grpSpPr>
        <p:sp>
          <p:nvSpPr>
            <p:cNvPr id="7" name="Rechteck 6"/>
            <p:cNvSpPr/>
            <p:nvPr/>
          </p:nvSpPr>
          <p:spPr>
            <a:xfrm>
              <a:off x="600959" y="60096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9" name="Rechteck 8"/>
            <p:cNvSpPr/>
            <p:nvPr/>
          </p:nvSpPr>
          <p:spPr>
            <a:xfrm>
              <a:off x="1600524" y="60096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0" name="Rechteck 9"/>
            <p:cNvSpPr/>
            <p:nvPr/>
          </p:nvSpPr>
          <p:spPr>
            <a:xfrm>
              <a:off x="2600089" y="60096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1" name="Rechteck 10"/>
            <p:cNvSpPr/>
            <p:nvPr/>
          </p:nvSpPr>
          <p:spPr>
            <a:xfrm>
              <a:off x="3599654" y="60096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2" name="Rechteck 11"/>
            <p:cNvSpPr/>
            <p:nvPr/>
          </p:nvSpPr>
          <p:spPr>
            <a:xfrm>
              <a:off x="4599219" y="60096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3" name="Rechteck 12"/>
            <p:cNvSpPr/>
            <p:nvPr/>
          </p:nvSpPr>
          <p:spPr>
            <a:xfrm>
              <a:off x="5598784" y="60096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4" name="Rechteck 13"/>
            <p:cNvSpPr/>
            <p:nvPr/>
          </p:nvSpPr>
          <p:spPr>
            <a:xfrm>
              <a:off x="600959" y="160052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5" name="Rechteck 14"/>
            <p:cNvSpPr/>
            <p:nvPr/>
          </p:nvSpPr>
          <p:spPr>
            <a:xfrm>
              <a:off x="600959" y="260009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6" name="Rechteck 15"/>
            <p:cNvSpPr/>
            <p:nvPr/>
          </p:nvSpPr>
          <p:spPr>
            <a:xfrm>
              <a:off x="600959" y="359965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7" name="Rechteck 16"/>
            <p:cNvSpPr/>
            <p:nvPr/>
          </p:nvSpPr>
          <p:spPr>
            <a:xfrm>
              <a:off x="600959" y="459922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8" name="Rechteck 17"/>
            <p:cNvSpPr/>
            <p:nvPr/>
          </p:nvSpPr>
          <p:spPr>
            <a:xfrm>
              <a:off x="600959" y="559878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9" name="Rechteck 18"/>
            <p:cNvSpPr/>
            <p:nvPr/>
          </p:nvSpPr>
          <p:spPr>
            <a:xfrm>
              <a:off x="1600524" y="160052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0" name="Rechteck 19"/>
            <p:cNvSpPr/>
            <p:nvPr/>
          </p:nvSpPr>
          <p:spPr>
            <a:xfrm>
              <a:off x="1600524" y="260009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1" name="Rechteck 20"/>
            <p:cNvSpPr/>
            <p:nvPr/>
          </p:nvSpPr>
          <p:spPr>
            <a:xfrm>
              <a:off x="1600524" y="359965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2" name="Rechteck 21"/>
            <p:cNvSpPr/>
            <p:nvPr/>
          </p:nvSpPr>
          <p:spPr>
            <a:xfrm>
              <a:off x="1600524" y="459922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3" name="Rechteck 22"/>
            <p:cNvSpPr/>
            <p:nvPr/>
          </p:nvSpPr>
          <p:spPr>
            <a:xfrm>
              <a:off x="1600524" y="559878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4" name="Rechteck 23"/>
            <p:cNvSpPr/>
            <p:nvPr/>
          </p:nvSpPr>
          <p:spPr>
            <a:xfrm>
              <a:off x="2600089" y="160052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5" name="Rechteck 24"/>
            <p:cNvSpPr/>
            <p:nvPr/>
          </p:nvSpPr>
          <p:spPr>
            <a:xfrm>
              <a:off x="2600089" y="260009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6" name="Rechteck 25"/>
            <p:cNvSpPr/>
            <p:nvPr/>
          </p:nvSpPr>
          <p:spPr>
            <a:xfrm>
              <a:off x="2600089" y="359965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7" name="Rechteck 26"/>
            <p:cNvSpPr/>
            <p:nvPr/>
          </p:nvSpPr>
          <p:spPr>
            <a:xfrm>
              <a:off x="2600089" y="459922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2600089" y="559878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9" name="Rechteck 28"/>
            <p:cNvSpPr/>
            <p:nvPr/>
          </p:nvSpPr>
          <p:spPr>
            <a:xfrm>
              <a:off x="3599654" y="160052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0" name="Rechteck 29"/>
            <p:cNvSpPr/>
            <p:nvPr/>
          </p:nvSpPr>
          <p:spPr>
            <a:xfrm>
              <a:off x="3599654" y="260009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1" name="Rechteck 30"/>
            <p:cNvSpPr/>
            <p:nvPr/>
          </p:nvSpPr>
          <p:spPr>
            <a:xfrm>
              <a:off x="3599654" y="359965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2" name="Rechteck 31"/>
            <p:cNvSpPr/>
            <p:nvPr/>
          </p:nvSpPr>
          <p:spPr>
            <a:xfrm>
              <a:off x="3599654" y="459922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3" name="Rechteck 32"/>
            <p:cNvSpPr/>
            <p:nvPr/>
          </p:nvSpPr>
          <p:spPr>
            <a:xfrm>
              <a:off x="3599654" y="559878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4" name="Rechteck 33"/>
            <p:cNvSpPr/>
            <p:nvPr/>
          </p:nvSpPr>
          <p:spPr>
            <a:xfrm>
              <a:off x="4599219" y="160052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5" name="Rechteck 34"/>
            <p:cNvSpPr/>
            <p:nvPr/>
          </p:nvSpPr>
          <p:spPr>
            <a:xfrm>
              <a:off x="4599219" y="260009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6" name="Rechteck 35"/>
            <p:cNvSpPr/>
            <p:nvPr/>
          </p:nvSpPr>
          <p:spPr>
            <a:xfrm>
              <a:off x="4599219" y="359965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7" name="Rechteck 36"/>
            <p:cNvSpPr/>
            <p:nvPr/>
          </p:nvSpPr>
          <p:spPr>
            <a:xfrm>
              <a:off x="4599219" y="459922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8" name="Rechteck 37"/>
            <p:cNvSpPr/>
            <p:nvPr/>
          </p:nvSpPr>
          <p:spPr>
            <a:xfrm>
              <a:off x="4599219" y="559878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9" name="Rechteck 38"/>
            <p:cNvSpPr/>
            <p:nvPr/>
          </p:nvSpPr>
          <p:spPr>
            <a:xfrm>
              <a:off x="5598784" y="160052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40" name="Rechteck 39"/>
            <p:cNvSpPr/>
            <p:nvPr/>
          </p:nvSpPr>
          <p:spPr>
            <a:xfrm>
              <a:off x="5598784" y="260009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41" name="Rechteck 40"/>
            <p:cNvSpPr/>
            <p:nvPr/>
          </p:nvSpPr>
          <p:spPr>
            <a:xfrm>
              <a:off x="5598784" y="359965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42" name="Rechteck 41"/>
            <p:cNvSpPr/>
            <p:nvPr/>
          </p:nvSpPr>
          <p:spPr>
            <a:xfrm>
              <a:off x="5598784" y="459922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43" name="Rechteck 42"/>
            <p:cNvSpPr/>
            <p:nvPr/>
          </p:nvSpPr>
          <p:spPr>
            <a:xfrm>
              <a:off x="5598784" y="559878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45" name="Rechtwinkliges Dreieck 44"/>
            <p:cNvSpPr/>
            <p:nvPr/>
          </p:nvSpPr>
          <p:spPr>
            <a:xfrm rot="5400000">
              <a:off x="600956" y="616651"/>
              <a:ext cx="5981700" cy="59817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" name="Rechteck 3"/>
            <p:cNvSpPr/>
            <p:nvPr/>
          </p:nvSpPr>
          <p:spPr>
            <a:xfrm>
              <a:off x="600962" y="600962"/>
              <a:ext cx="5997389" cy="5997389"/>
            </a:xfrm>
            <a:prstGeom prst="rect">
              <a:avLst/>
            </a:prstGeom>
            <a:noFill/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89600883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3177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ihandform 15"/>
          <p:cNvSpPr/>
          <p:nvPr/>
        </p:nvSpPr>
        <p:spPr>
          <a:xfrm>
            <a:off x="1118910" y="2352262"/>
            <a:ext cx="4887367" cy="3497150"/>
          </a:xfrm>
          <a:custGeom>
            <a:avLst/>
            <a:gdLst>
              <a:gd name="connsiteX0" fmla="*/ 317440 w 5302035"/>
              <a:gd name="connsiteY0" fmla="*/ 2300324 h 3797083"/>
              <a:gd name="connsiteX1" fmla="*/ 2855232 w 5302035"/>
              <a:gd name="connsiteY1" fmla="*/ 14324 h 3797083"/>
              <a:gd name="connsiteX2" fmla="*/ 5253875 w 5302035"/>
              <a:gd name="connsiteY2" fmla="*/ 3486393 h 3797083"/>
              <a:gd name="connsiteX3" fmla="*/ 582484 w 5302035"/>
              <a:gd name="connsiteY3" fmla="*/ 3493019 h 3797083"/>
              <a:gd name="connsiteX4" fmla="*/ 317440 w 5302035"/>
              <a:gd name="connsiteY4" fmla="*/ 2300324 h 3797083"/>
              <a:gd name="connsiteX0" fmla="*/ 315852 w 5254906"/>
              <a:gd name="connsiteY0" fmla="*/ 2301065 h 3820355"/>
              <a:gd name="connsiteX1" fmla="*/ 2853644 w 5254906"/>
              <a:gd name="connsiteY1" fmla="*/ 15065 h 3820355"/>
              <a:gd name="connsiteX2" fmla="*/ 5205905 w 5254906"/>
              <a:gd name="connsiteY2" fmla="*/ 3520264 h 3820355"/>
              <a:gd name="connsiteX3" fmla="*/ 580896 w 5254906"/>
              <a:gd name="connsiteY3" fmla="*/ 3493760 h 3820355"/>
              <a:gd name="connsiteX4" fmla="*/ 315852 w 5254906"/>
              <a:gd name="connsiteY4" fmla="*/ 2301065 h 3820355"/>
              <a:gd name="connsiteX0" fmla="*/ 315852 w 5254906"/>
              <a:gd name="connsiteY0" fmla="*/ 2301065 h 3601367"/>
              <a:gd name="connsiteX1" fmla="*/ 2853644 w 5254906"/>
              <a:gd name="connsiteY1" fmla="*/ 15065 h 3601367"/>
              <a:gd name="connsiteX2" fmla="*/ 5205905 w 5254906"/>
              <a:gd name="connsiteY2" fmla="*/ 3520264 h 3601367"/>
              <a:gd name="connsiteX3" fmla="*/ 580896 w 5254906"/>
              <a:gd name="connsiteY3" fmla="*/ 3493760 h 3601367"/>
              <a:gd name="connsiteX4" fmla="*/ 315852 w 5254906"/>
              <a:gd name="connsiteY4" fmla="*/ 2301065 h 3601367"/>
              <a:gd name="connsiteX0" fmla="*/ 52813 w 4726823"/>
              <a:gd name="connsiteY0" fmla="*/ 3478701 h 3754076"/>
              <a:gd name="connsiteX1" fmla="*/ 2325561 w 4726823"/>
              <a:gd name="connsiteY1" fmla="*/ 6 h 3754076"/>
              <a:gd name="connsiteX2" fmla="*/ 4677822 w 4726823"/>
              <a:gd name="connsiteY2" fmla="*/ 3505205 h 3754076"/>
              <a:gd name="connsiteX3" fmla="*/ 52813 w 4726823"/>
              <a:gd name="connsiteY3" fmla="*/ 3478701 h 3754076"/>
              <a:gd name="connsiteX0" fmla="*/ 75762 w 3944486"/>
              <a:gd name="connsiteY0" fmla="*/ 3154978 h 3567188"/>
              <a:gd name="connsiteX1" fmla="*/ 1546754 w 3944486"/>
              <a:gd name="connsiteY1" fmla="*/ 962 h 3567188"/>
              <a:gd name="connsiteX2" fmla="*/ 3899015 w 3944486"/>
              <a:gd name="connsiteY2" fmla="*/ 3506161 h 3567188"/>
              <a:gd name="connsiteX3" fmla="*/ 75762 w 3944486"/>
              <a:gd name="connsiteY3" fmla="*/ 3154978 h 3567188"/>
              <a:gd name="connsiteX0" fmla="*/ 47769 w 5000123"/>
              <a:gd name="connsiteY0" fmla="*/ 3445590 h 3730845"/>
              <a:gd name="connsiteX1" fmla="*/ 2598813 w 5000123"/>
              <a:gd name="connsiteY1" fmla="*/ 26 h 3730845"/>
              <a:gd name="connsiteX2" fmla="*/ 4951074 w 5000123"/>
              <a:gd name="connsiteY2" fmla="*/ 3505225 h 3730845"/>
              <a:gd name="connsiteX3" fmla="*/ 47769 w 5000123"/>
              <a:gd name="connsiteY3" fmla="*/ 3445590 h 3730845"/>
              <a:gd name="connsiteX0" fmla="*/ 127602 w 5079956"/>
              <a:gd name="connsiteY0" fmla="*/ 3445594 h 3933115"/>
              <a:gd name="connsiteX1" fmla="*/ 2678646 w 5079956"/>
              <a:gd name="connsiteY1" fmla="*/ 30 h 3933115"/>
              <a:gd name="connsiteX2" fmla="*/ 5030907 w 5079956"/>
              <a:gd name="connsiteY2" fmla="*/ 3505229 h 3933115"/>
              <a:gd name="connsiteX3" fmla="*/ 127602 w 5079956"/>
              <a:gd name="connsiteY3" fmla="*/ 3445594 h 3933115"/>
              <a:gd name="connsiteX0" fmla="*/ 1 w 4952355"/>
              <a:gd name="connsiteY0" fmla="*/ 3445586 h 3514496"/>
              <a:gd name="connsiteX1" fmla="*/ 2551045 w 4952355"/>
              <a:gd name="connsiteY1" fmla="*/ 22 h 3514496"/>
              <a:gd name="connsiteX2" fmla="*/ 4903306 w 4952355"/>
              <a:gd name="connsiteY2" fmla="*/ 3505221 h 3514496"/>
              <a:gd name="connsiteX3" fmla="*/ 1 w 4952355"/>
              <a:gd name="connsiteY3" fmla="*/ 3445586 h 3514496"/>
              <a:gd name="connsiteX0" fmla="*/ 18390 w 4995033"/>
              <a:gd name="connsiteY0" fmla="*/ 3366078 h 3645494"/>
              <a:gd name="connsiteX1" fmla="*/ 3311556 w 4995033"/>
              <a:gd name="connsiteY1" fmla="*/ 27 h 3645494"/>
              <a:gd name="connsiteX2" fmla="*/ 4921695 w 4995033"/>
              <a:gd name="connsiteY2" fmla="*/ 3425713 h 3645494"/>
              <a:gd name="connsiteX3" fmla="*/ 18390 w 4995033"/>
              <a:gd name="connsiteY3" fmla="*/ 3366078 h 3645494"/>
              <a:gd name="connsiteX0" fmla="*/ 17139 w 4984847"/>
              <a:gd name="connsiteY0" fmla="*/ 3441272 h 3720688"/>
              <a:gd name="connsiteX1" fmla="*/ 3310305 w 4984847"/>
              <a:gd name="connsiteY1" fmla="*/ 75221 h 3720688"/>
              <a:gd name="connsiteX2" fmla="*/ 4920444 w 4984847"/>
              <a:gd name="connsiteY2" fmla="*/ 3500907 h 3720688"/>
              <a:gd name="connsiteX3" fmla="*/ 17139 w 4984847"/>
              <a:gd name="connsiteY3" fmla="*/ 3441272 h 3720688"/>
              <a:gd name="connsiteX0" fmla="*/ 20087 w 4696332"/>
              <a:gd name="connsiteY0" fmla="*/ 3445567 h 3702280"/>
              <a:gd name="connsiteX1" fmla="*/ 3015079 w 4696332"/>
              <a:gd name="connsiteY1" fmla="*/ 3 h 3702280"/>
              <a:gd name="connsiteX2" fmla="*/ 4625218 w 4696332"/>
              <a:gd name="connsiteY2" fmla="*/ 3425689 h 3702280"/>
              <a:gd name="connsiteX3" fmla="*/ 20087 w 4696332"/>
              <a:gd name="connsiteY3" fmla="*/ 3445567 h 3702280"/>
              <a:gd name="connsiteX0" fmla="*/ 1024 w 4677269"/>
              <a:gd name="connsiteY0" fmla="*/ 3445567 h 3487375"/>
              <a:gd name="connsiteX1" fmla="*/ 2996016 w 4677269"/>
              <a:gd name="connsiteY1" fmla="*/ 3 h 3487375"/>
              <a:gd name="connsiteX2" fmla="*/ 4606155 w 4677269"/>
              <a:gd name="connsiteY2" fmla="*/ 3425689 h 3487375"/>
              <a:gd name="connsiteX3" fmla="*/ 1024 w 4677269"/>
              <a:gd name="connsiteY3" fmla="*/ 3445567 h 3487375"/>
              <a:gd name="connsiteX0" fmla="*/ 1024 w 4677269"/>
              <a:gd name="connsiteY0" fmla="*/ 3445567 h 3487375"/>
              <a:gd name="connsiteX1" fmla="*/ 2996016 w 4677269"/>
              <a:gd name="connsiteY1" fmla="*/ 3 h 3487375"/>
              <a:gd name="connsiteX2" fmla="*/ 4606155 w 4677269"/>
              <a:gd name="connsiteY2" fmla="*/ 3425689 h 3487375"/>
              <a:gd name="connsiteX3" fmla="*/ 1024 w 4677269"/>
              <a:gd name="connsiteY3" fmla="*/ 3445567 h 3487375"/>
              <a:gd name="connsiteX0" fmla="*/ 966 w 4844083"/>
              <a:gd name="connsiteY0" fmla="*/ 3465453 h 3502242"/>
              <a:gd name="connsiteX1" fmla="*/ 3161610 w 4844083"/>
              <a:gd name="connsiteY1" fmla="*/ 11 h 3502242"/>
              <a:gd name="connsiteX2" fmla="*/ 4771749 w 4844083"/>
              <a:gd name="connsiteY2" fmla="*/ 3425697 h 3502242"/>
              <a:gd name="connsiteX3" fmla="*/ 966 w 4844083"/>
              <a:gd name="connsiteY3" fmla="*/ 3465453 h 3502242"/>
              <a:gd name="connsiteX0" fmla="*/ 966 w 4844083"/>
              <a:gd name="connsiteY0" fmla="*/ 3465453 h 3502242"/>
              <a:gd name="connsiteX1" fmla="*/ 3161610 w 4844083"/>
              <a:gd name="connsiteY1" fmla="*/ 11 h 3502242"/>
              <a:gd name="connsiteX2" fmla="*/ 4771749 w 4844083"/>
              <a:gd name="connsiteY2" fmla="*/ 3425697 h 3502242"/>
              <a:gd name="connsiteX3" fmla="*/ 966 w 4844083"/>
              <a:gd name="connsiteY3" fmla="*/ 3465453 h 3502242"/>
              <a:gd name="connsiteX0" fmla="*/ 932 w 4844049"/>
              <a:gd name="connsiteY0" fmla="*/ 3465453 h 3502242"/>
              <a:gd name="connsiteX1" fmla="*/ 3161576 w 4844049"/>
              <a:gd name="connsiteY1" fmla="*/ 11 h 3502242"/>
              <a:gd name="connsiteX2" fmla="*/ 4771715 w 4844049"/>
              <a:gd name="connsiteY2" fmla="*/ 3425697 h 3502242"/>
              <a:gd name="connsiteX3" fmla="*/ 932 w 4844049"/>
              <a:gd name="connsiteY3" fmla="*/ 3465453 h 3502242"/>
              <a:gd name="connsiteX0" fmla="*/ 900 w 4930156"/>
              <a:gd name="connsiteY0" fmla="*/ 3458827 h 3497161"/>
              <a:gd name="connsiteX1" fmla="*/ 3247683 w 4930156"/>
              <a:gd name="connsiteY1" fmla="*/ 11 h 3497161"/>
              <a:gd name="connsiteX2" fmla="*/ 4857822 w 4930156"/>
              <a:gd name="connsiteY2" fmla="*/ 3425697 h 3497161"/>
              <a:gd name="connsiteX3" fmla="*/ 900 w 4930156"/>
              <a:gd name="connsiteY3" fmla="*/ 3458827 h 3497161"/>
              <a:gd name="connsiteX0" fmla="*/ 900 w 4921200"/>
              <a:gd name="connsiteY0" fmla="*/ 3458816 h 3497150"/>
              <a:gd name="connsiteX1" fmla="*/ 3247683 w 4921200"/>
              <a:gd name="connsiteY1" fmla="*/ 0 h 3497150"/>
              <a:gd name="connsiteX2" fmla="*/ 4857822 w 4921200"/>
              <a:gd name="connsiteY2" fmla="*/ 3425686 h 3497150"/>
              <a:gd name="connsiteX3" fmla="*/ 900 w 4921200"/>
              <a:gd name="connsiteY3" fmla="*/ 3458816 h 3497150"/>
              <a:gd name="connsiteX0" fmla="*/ 900 w 4875764"/>
              <a:gd name="connsiteY0" fmla="*/ 3458816 h 3497150"/>
              <a:gd name="connsiteX1" fmla="*/ 3247683 w 4875764"/>
              <a:gd name="connsiteY1" fmla="*/ 0 h 3497150"/>
              <a:gd name="connsiteX2" fmla="*/ 4857822 w 4875764"/>
              <a:gd name="connsiteY2" fmla="*/ 3425686 h 3497150"/>
              <a:gd name="connsiteX3" fmla="*/ 900 w 4875764"/>
              <a:gd name="connsiteY3" fmla="*/ 3458816 h 3497150"/>
              <a:gd name="connsiteX0" fmla="*/ 900 w 4887367"/>
              <a:gd name="connsiteY0" fmla="*/ 3458816 h 3497150"/>
              <a:gd name="connsiteX1" fmla="*/ 3247683 w 4887367"/>
              <a:gd name="connsiteY1" fmla="*/ 0 h 3497150"/>
              <a:gd name="connsiteX2" fmla="*/ 4857822 w 4887367"/>
              <a:gd name="connsiteY2" fmla="*/ 3425686 h 3497150"/>
              <a:gd name="connsiteX3" fmla="*/ 900 w 4887367"/>
              <a:gd name="connsiteY3" fmla="*/ 3458816 h 3497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87367" h="3497150">
                <a:moveTo>
                  <a:pt x="900" y="3458816"/>
                </a:moveTo>
                <a:cubicBezTo>
                  <a:pt x="-55421" y="3371572"/>
                  <a:pt x="2545319" y="708991"/>
                  <a:pt x="3247683" y="0"/>
                </a:cubicBezTo>
                <a:cubicBezTo>
                  <a:pt x="3817526" y="33130"/>
                  <a:pt x="5097465" y="2461592"/>
                  <a:pt x="4857822" y="3425686"/>
                </a:cubicBezTo>
                <a:cubicBezTo>
                  <a:pt x="3213449" y="3462129"/>
                  <a:pt x="57221" y="3546060"/>
                  <a:pt x="900" y="34588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" name="Gerader Verbinder 4"/>
          <p:cNvCxnSpPr/>
          <p:nvPr/>
        </p:nvCxnSpPr>
        <p:spPr>
          <a:xfrm flipH="1">
            <a:off x="1005912" y="1345096"/>
            <a:ext cx="4274016" cy="4458325"/>
          </a:xfrm>
          <a:prstGeom prst="line">
            <a:avLst/>
          </a:prstGeom>
          <a:ln w="2159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/>
          <p:cNvCxnSpPr/>
          <p:nvPr/>
        </p:nvCxnSpPr>
        <p:spPr>
          <a:xfrm flipH="1">
            <a:off x="894523" y="5803421"/>
            <a:ext cx="5652051" cy="0"/>
          </a:xfrm>
          <a:prstGeom prst="line">
            <a:avLst/>
          </a:prstGeom>
          <a:ln w="2159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Multiplizieren 8"/>
          <p:cNvSpPr/>
          <p:nvPr/>
        </p:nvSpPr>
        <p:spPr>
          <a:xfrm>
            <a:off x="4270702" y="403160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Bogen 12"/>
          <p:cNvSpPr>
            <a:spLocks noChangeAspect="1"/>
          </p:cNvSpPr>
          <p:nvPr/>
        </p:nvSpPr>
        <p:spPr>
          <a:xfrm>
            <a:off x="-3233530" y="1186150"/>
            <a:ext cx="9234542" cy="9234542"/>
          </a:xfrm>
          <a:prstGeom prst="arc">
            <a:avLst>
              <a:gd name="adj1" fmla="val 18633179"/>
              <a:gd name="adj2" fmla="val 0"/>
            </a:avLst>
          </a:prstGeom>
          <a:ln w="2159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Multiplizieren 7"/>
          <p:cNvSpPr/>
          <p:nvPr/>
        </p:nvSpPr>
        <p:spPr>
          <a:xfrm>
            <a:off x="-3314" y="4794195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4571102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ieren 5"/>
          <p:cNvGrpSpPr/>
          <p:nvPr/>
        </p:nvGrpSpPr>
        <p:grpSpPr>
          <a:xfrm>
            <a:off x="26504" y="1192696"/>
            <a:ext cx="7070034" cy="4813920"/>
            <a:chOff x="26504" y="1431234"/>
            <a:chExt cx="7070034" cy="3962400"/>
          </a:xfrm>
          <a:solidFill>
            <a:schemeClr val="accent1">
              <a:lumMod val="75000"/>
            </a:schemeClr>
          </a:solidFill>
        </p:grpSpPr>
        <p:sp>
          <p:nvSpPr>
            <p:cNvPr id="4" name="Richtungspfeil 3"/>
            <p:cNvSpPr/>
            <p:nvPr/>
          </p:nvSpPr>
          <p:spPr>
            <a:xfrm>
              <a:off x="26504" y="1431234"/>
              <a:ext cx="3041374" cy="3962400"/>
            </a:xfrm>
            <a:prstGeom prst="homePlate">
              <a:avLst>
                <a:gd name="adj" fmla="val 53265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Eingekerbter Richtungspfeil 4"/>
            <p:cNvSpPr/>
            <p:nvPr/>
          </p:nvSpPr>
          <p:spPr>
            <a:xfrm>
              <a:off x="3067878" y="1431234"/>
              <a:ext cx="4028660" cy="3962400"/>
            </a:xfrm>
            <a:prstGeom prst="chevron">
              <a:avLst>
                <a:gd name="adj" fmla="val 4021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4007046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7255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>
            <a:spLocks/>
          </p:cNvSpPr>
          <p:nvPr/>
        </p:nvSpPr>
        <p:spPr>
          <a:xfrm>
            <a:off x="467656" y="467656"/>
            <a:ext cx="2772000" cy="2772000"/>
          </a:xfrm>
          <a:prstGeom prst="rect">
            <a:avLst/>
          </a:prstGeom>
          <a:solidFill>
            <a:schemeClr val="bg1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3959656" y="467656"/>
            <a:ext cx="2772000" cy="2772000"/>
          </a:xfrm>
          <a:prstGeom prst="rect">
            <a:avLst/>
          </a:prstGeom>
          <a:solidFill>
            <a:schemeClr val="bg1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467656" y="3959656"/>
            <a:ext cx="2772000" cy="2772000"/>
          </a:xfrm>
          <a:prstGeom prst="rect">
            <a:avLst/>
          </a:prstGeom>
          <a:solidFill>
            <a:schemeClr val="bg1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>
            <a:spLocks/>
          </p:cNvSpPr>
          <p:nvPr/>
        </p:nvSpPr>
        <p:spPr>
          <a:xfrm>
            <a:off x="3959656" y="3959656"/>
            <a:ext cx="2772000" cy="2772000"/>
          </a:xfrm>
          <a:prstGeom prst="rect">
            <a:avLst/>
          </a:prstGeom>
          <a:solidFill>
            <a:schemeClr val="bg1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718696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>
            <a:spLocks/>
          </p:cNvSpPr>
          <p:nvPr/>
        </p:nvSpPr>
        <p:spPr>
          <a:xfrm>
            <a:off x="687108" y="159026"/>
            <a:ext cx="2556000" cy="6891131"/>
          </a:xfrm>
          <a:prstGeom prst="rect">
            <a:avLst/>
          </a:prstGeom>
          <a:solidFill>
            <a:schemeClr val="accent3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3978647" y="154091"/>
            <a:ext cx="2556000" cy="6891131"/>
          </a:xfrm>
          <a:prstGeom prst="rect">
            <a:avLst/>
          </a:prstGeom>
          <a:solidFill>
            <a:schemeClr val="accent3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193848" y="3963453"/>
            <a:ext cx="6811617" cy="2556000"/>
          </a:xfrm>
          <a:prstGeom prst="rect">
            <a:avLst/>
          </a:prstGeom>
          <a:solidFill>
            <a:schemeClr val="bg1">
              <a:alpha val="70000"/>
            </a:schemeClr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>
            <a:spLocks/>
          </p:cNvSpPr>
          <p:nvPr/>
        </p:nvSpPr>
        <p:spPr>
          <a:xfrm>
            <a:off x="193848" y="673115"/>
            <a:ext cx="6811617" cy="2556000"/>
          </a:xfrm>
          <a:prstGeom prst="rect">
            <a:avLst/>
          </a:prstGeom>
          <a:solidFill>
            <a:schemeClr val="bg1">
              <a:alpha val="70000"/>
            </a:schemeClr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871318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>
            <a:spLocks noChangeAspect="1"/>
          </p:cNvSpPr>
          <p:nvPr/>
        </p:nvSpPr>
        <p:spPr>
          <a:xfrm>
            <a:off x="157837" y="2429656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hteck 4"/>
          <p:cNvSpPr>
            <a:spLocks noChangeAspect="1"/>
          </p:cNvSpPr>
          <p:nvPr/>
        </p:nvSpPr>
        <p:spPr>
          <a:xfrm>
            <a:off x="3163155" y="2429656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15" name="Pfeil nach rechts 14"/>
          <p:cNvSpPr/>
          <p:nvPr/>
        </p:nvSpPr>
        <p:spPr>
          <a:xfrm>
            <a:off x="3986010" y="2857535"/>
            <a:ext cx="3156637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8091612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7423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>
            <a:spLocks/>
          </p:cNvSpPr>
          <p:nvPr/>
        </p:nvSpPr>
        <p:spPr>
          <a:xfrm>
            <a:off x="163977" y="154090"/>
            <a:ext cx="2252806" cy="6891131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2416783" y="154091"/>
            <a:ext cx="2252806" cy="6891131"/>
          </a:xfrm>
          <a:prstGeom prst="rect">
            <a:avLst/>
          </a:prstGeom>
          <a:solidFill>
            <a:schemeClr val="accent3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/>
          </p:cNvSpPr>
          <p:nvPr/>
        </p:nvSpPr>
        <p:spPr>
          <a:xfrm>
            <a:off x="4669588" y="154091"/>
            <a:ext cx="2252806" cy="6891131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>
            <a:spLocks/>
          </p:cNvSpPr>
          <p:nvPr/>
        </p:nvSpPr>
        <p:spPr>
          <a:xfrm>
            <a:off x="163978" y="151323"/>
            <a:ext cx="6758416" cy="1014215"/>
          </a:xfrm>
          <a:prstGeom prst="rect">
            <a:avLst/>
          </a:prstGeom>
          <a:solidFill>
            <a:schemeClr val="tx1">
              <a:lumMod val="85000"/>
              <a:lumOff val="15000"/>
              <a:alpha val="70000"/>
            </a:schemeClr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uppieren 16"/>
          <p:cNvGrpSpPr/>
          <p:nvPr/>
        </p:nvGrpSpPr>
        <p:grpSpPr>
          <a:xfrm>
            <a:off x="163978" y="1162512"/>
            <a:ext cx="6758416" cy="5882709"/>
            <a:chOff x="163978" y="1162512"/>
            <a:chExt cx="6758416" cy="6439048"/>
          </a:xfrm>
        </p:grpSpPr>
        <p:sp>
          <p:nvSpPr>
            <p:cNvPr id="7" name="Rechteck 6"/>
            <p:cNvSpPr>
              <a:spLocks/>
            </p:cNvSpPr>
            <p:nvPr/>
          </p:nvSpPr>
          <p:spPr>
            <a:xfrm>
              <a:off x="163978" y="1162512"/>
              <a:ext cx="6758416" cy="2147358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  <a:ln w="1270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hteck 14"/>
            <p:cNvSpPr>
              <a:spLocks/>
            </p:cNvSpPr>
            <p:nvPr/>
          </p:nvSpPr>
          <p:spPr>
            <a:xfrm>
              <a:off x="163978" y="3309870"/>
              <a:ext cx="6758416" cy="2147358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  <a:ln w="1270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hteck 15"/>
            <p:cNvSpPr>
              <a:spLocks/>
            </p:cNvSpPr>
            <p:nvPr/>
          </p:nvSpPr>
          <p:spPr>
            <a:xfrm>
              <a:off x="163978" y="5454202"/>
              <a:ext cx="6758416" cy="2147358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  <a:ln w="1270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Ellipse 9"/>
          <p:cNvSpPr/>
          <p:nvPr/>
        </p:nvSpPr>
        <p:spPr>
          <a:xfrm>
            <a:off x="3053788" y="1654027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Ellipse 10"/>
          <p:cNvSpPr/>
          <p:nvPr/>
        </p:nvSpPr>
        <p:spPr>
          <a:xfrm>
            <a:off x="3053788" y="5574911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Ellipse 11"/>
          <p:cNvSpPr/>
          <p:nvPr/>
        </p:nvSpPr>
        <p:spPr>
          <a:xfrm>
            <a:off x="3053788" y="3612826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9" name="Gerader Verbinder 18"/>
          <p:cNvCxnSpPr/>
          <p:nvPr/>
        </p:nvCxnSpPr>
        <p:spPr>
          <a:xfrm>
            <a:off x="2416783" y="151323"/>
            <a:ext cx="0" cy="6891131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669588" y="151323"/>
            <a:ext cx="0" cy="6891131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9495842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683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0" name="Gruppieren 39"/>
          <p:cNvGrpSpPr/>
          <p:nvPr/>
        </p:nvGrpSpPr>
        <p:grpSpPr>
          <a:xfrm>
            <a:off x="734097" y="491790"/>
            <a:ext cx="6195560" cy="2178676"/>
            <a:chOff x="1171977" y="491790"/>
            <a:chExt cx="5757679" cy="2178676"/>
          </a:xfrm>
        </p:grpSpPr>
        <p:sp>
          <p:nvSpPr>
            <p:cNvPr id="5" name="Rechteck 4"/>
            <p:cNvSpPr>
              <a:spLocks/>
            </p:cNvSpPr>
            <p:nvPr/>
          </p:nvSpPr>
          <p:spPr>
            <a:xfrm>
              <a:off x="2041302" y="491790"/>
              <a:ext cx="1110559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hteck 5"/>
            <p:cNvSpPr>
              <a:spLocks/>
            </p:cNvSpPr>
            <p:nvPr/>
          </p:nvSpPr>
          <p:spPr>
            <a:xfrm>
              <a:off x="3478666" y="491790"/>
              <a:ext cx="1110559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hteck 6"/>
            <p:cNvSpPr>
              <a:spLocks/>
            </p:cNvSpPr>
            <p:nvPr/>
          </p:nvSpPr>
          <p:spPr>
            <a:xfrm>
              <a:off x="4916030" y="491790"/>
              <a:ext cx="2013626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hteck 7"/>
            <p:cNvSpPr>
              <a:spLocks/>
            </p:cNvSpPr>
            <p:nvPr/>
          </p:nvSpPr>
          <p:spPr>
            <a:xfrm>
              <a:off x="3338446" y="1653128"/>
              <a:ext cx="1560131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hteck 8"/>
            <p:cNvSpPr>
              <a:spLocks/>
            </p:cNvSpPr>
            <p:nvPr/>
          </p:nvSpPr>
          <p:spPr>
            <a:xfrm>
              <a:off x="2041302" y="1072459"/>
              <a:ext cx="3551475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hteck 9"/>
            <p:cNvSpPr>
              <a:spLocks/>
            </p:cNvSpPr>
            <p:nvPr/>
          </p:nvSpPr>
          <p:spPr>
            <a:xfrm>
              <a:off x="5925366" y="1072459"/>
              <a:ext cx="1004290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hteck 10"/>
            <p:cNvSpPr>
              <a:spLocks/>
            </p:cNvSpPr>
            <p:nvPr/>
          </p:nvSpPr>
          <p:spPr>
            <a:xfrm>
              <a:off x="1171977" y="1653128"/>
              <a:ext cx="1846266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hteck 11"/>
            <p:cNvSpPr>
              <a:spLocks/>
            </p:cNvSpPr>
            <p:nvPr/>
          </p:nvSpPr>
          <p:spPr>
            <a:xfrm>
              <a:off x="5218779" y="1653128"/>
              <a:ext cx="1710877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hteck 12"/>
            <p:cNvSpPr>
              <a:spLocks/>
            </p:cNvSpPr>
            <p:nvPr/>
          </p:nvSpPr>
          <p:spPr>
            <a:xfrm>
              <a:off x="1171977" y="2233797"/>
              <a:ext cx="2814828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hteck 13"/>
            <p:cNvSpPr>
              <a:spLocks/>
            </p:cNvSpPr>
            <p:nvPr/>
          </p:nvSpPr>
          <p:spPr>
            <a:xfrm>
              <a:off x="4304417" y="2233797"/>
              <a:ext cx="2625239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9" name="Gruppieren 38"/>
          <p:cNvGrpSpPr/>
          <p:nvPr/>
        </p:nvGrpSpPr>
        <p:grpSpPr>
          <a:xfrm>
            <a:off x="1669535" y="3426466"/>
            <a:ext cx="5260121" cy="1017338"/>
            <a:chOff x="2041302" y="3067565"/>
            <a:chExt cx="4888354" cy="1017338"/>
          </a:xfrm>
        </p:grpSpPr>
        <p:sp>
          <p:nvSpPr>
            <p:cNvPr id="17" name="Rechteck 16"/>
            <p:cNvSpPr>
              <a:spLocks/>
            </p:cNvSpPr>
            <p:nvPr/>
          </p:nvSpPr>
          <p:spPr>
            <a:xfrm>
              <a:off x="2041302" y="3067565"/>
              <a:ext cx="1110559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hteck 17"/>
            <p:cNvSpPr>
              <a:spLocks/>
            </p:cNvSpPr>
            <p:nvPr/>
          </p:nvSpPr>
          <p:spPr>
            <a:xfrm>
              <a:off x="3478666" y="3067565"/>
              <a:ext cx="1110559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hteck 18"/>
            <p:cNvSpPr>
              <a:spLocks/>
            </p:cNvSpPr>
            <p:nvPr/>
          </p:nvSpPr>
          <p:spPr>
            <a:xfrm>
              <a:off x="4916030" y="3067565"/>
              <a:ext cx="2013626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hteck 20"/>
            <p:cNvSpPr>
              <a:spLocks/>
            </p:cNvSpPr>
            <p:nvPr/>
          </p:nvSpPr>
          <p:spPr>
            <a:xfrm>
              <a:off x="2041302" y="3648234"/>
              <a:ext cx="3551475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hteck 21"/>
            <p:cNvSpPr>
              <a:spLocks/>
            </p:cNvSpPr>
            <p:nvPr/>
          </p:nvSpPr>
          <p:spPr>
            <a:xfrm>
              <a:off x="5925366" y="3648234"/>
              <a:ext cx="1004290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734097" y="5199804"/>
            <a:ext cx="6195560" cy="1598007"/>
            <a:chOff x="1171977" y="4774015"/>
            <a:chExt cx="5757679" cy="1598007"/>
          </a:xfrm>
        </p:grpSpPr>
        <p:sp>
          <p:nvSpPr>
            <p:cNvPr id="27" name="Rechteck 26"/>
            <p:cNvSpPr>
              <a:spLocks/>
            </p:cNvSpPr>
            <p:nvPr/>
          </p:nvSpPr>
          <p:spPr>
            <a:xfrm>
              <a:off x="2041302" y="4774015"/>
              <a:ext cx="1110559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hteck 27"/>
            <p:cNvSpPr>
              <a:spLocks/>
            </p:cNvSpPr>
            <p:nvPr/>
          </p:nvSpPr>
          <p:spPr>
            <a:xfrm>
              <a:off x="3478666" y="4774015"/>
              <a:ext cx="1110559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hteck 28"/>
            <p:cNvSpPr>
              <a:spLocks/>
            </p:cNvSpPr>
            <p:nvPr/>
          </p:nvSpPr>
          <p:spPr>
            <a:xfrm>
              <a:off x="4916030" y="4774015"/>
              <a:ext cx="2013626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hteck 29"/>
            <p:cNvSpPr>
              <a:spLocks/>
            </p:cNvSpPr>
            <p:nvPr/>
          </p:nvSpPr>
          <p:spPr>
            <a:xfrm>
              <a:off x="3880666" y="5354684"/>
              <a:ext cx="1324574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hteck 32"/>
            <p:cNvSpPr>
              <a:spLocks/>
            </p:cNvSpPr>
            <p:nvPr/>
          </p:nvSpPr>
          <p:spPr>
            <a:xfrm>
              <a:off x="2041302" y="5354684"/>
              <a:ext cx="1567507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hteck 33"/>
            <p:cNvSpPr>
              <a:spLocks/>
            </p:cNvSpPr>
            <p:nvPr/>
          </p:nvSpPr>
          <p:spPr>
            <a:xfrm>
              <a:off x="5477096" y="5354684"/>
              <a:ext cx="1452560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Rechteck 34"/>
            <p:cNvSpPr>
              <a:spLocks/>
            </p:cNvSpPr>
            <p:nvPr/>
          </p:nvSpPr>
          <p:spPr>
            <a:xfrm>
              <a:off x="1171977" y="5935353"/>
              <a:ext cx="2814828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echteck 35"/>
            <p:cNvSpPr>
              <a:spLocks/>
            </p:cNvSpPr>
            <p:nvPr/>
          </p:nvSpPr>
          <p:spPr>
            <a:xfrm>
              <a:off x="4304417" y="5935353"/>
              <a:ext cx="2625239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1" name="Ellipse 40"/>
          <p:cNvSpPr/>
          <p:nvPr/>
        </p:nvSpPr>
        <p:spPr>
          <a:xfrm>
            <a:off x="332858" y="220727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Ellipse 41"/>
          <p:cNvSpPr/>
          <p:nvPr/>
        </p:nvSpPr>
        <p:spPr>
          <a:xfrm>
            <a:off x="332858" y="3155403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Ellipse 42"/>
          <p:cNvSpPr/>
          <p:nvPr/>
        </p:nvSpPr>
        <p:spPr>
          <a:xfrm>
            <a:off x="332858" y="4928741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403923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>
            <a:spLocks/>
          </p:cNvSpPr>
          <p:nvPr/>
        </p:nvSpPr>
        <p:spPr>
          <a:xfrm>
            <a:off x="687108" y="159026"/>
            <a:ext cx="2556000" cy="6891131"/>
          </a:xfrm>
          <a:prstGeom prst="rect">
            <a:avLst/>
          </a:prstGeom>
          <a:solidFill>
            <a:schemeClr val="accent3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3978647" y="154091"/>
            <a:ext cx="2556000" cy="6891131"/>
          </a:xfrm>
          <a:prstGeom prst="rect">
            <a:avLst/>
          </a:prstGeom>
          <a:solidFill>
            <a:schemeClr val="accent3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193848" y="3963453"/>
            <a:ext cx="6811617" cy="2556000"/>
          </a:xfrm>
          <a:prstGeom prst="rect">
            <a:avLst/>
          </a:prstGeom>
          <a:solidFill>
            <a:schemeClr val="bg1">
              <a:alpha val="70000"/>
            </a:schemeClr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>
            <a:spLocks/>
          </p:cNvSpPr>
          <p:nvPr/>
        </p:nvSpPr>
        <p:spPr>
          <a:xfrm>
            <a:off x="193848" y="673115"/>
            <a:ext cx="6811617" cy="2556000"/>
          </a:xfrm>
          <a:prstGeom prst="rect">
            <a:avLst/>
          </a:prstGeom>
          <a:solidFill>
            <a:schemeClr val="bg1">
              <a:alpha val="70000"/>
            </a:schemeClr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Ellipse 1"/>
          <p:cNvSpPr/>
          <p:nvPr/>
        </p:nvSpPr>
        <p:spPr>
          <a:xfrm>
            <a:off x="1475711" y="1461718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Ellipse 7"/>
          <p:cNvSpPr/>
          <p:nvPr/>
        </p:nvSpPr>
        <p:spPr>
          <a:xfrm>
            <a:off x="4767250" y="1461718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Ellipse 9"/>
          <p:cNvSpPr/>
          <p:nvPr/>
        </p:nvSpPr>
        <p:spPr>
          <a:xfrm>
            <a:off x="1475711" y="4752056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Ellipse 10"/>
          <p:cNvSpPr/>
          <p:nvPr/>
        </p:nvSpPr>
        <p:spPr>
          <a:xfrm>
            <a:off x="4767250" y="4752056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898564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7944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631" imgH="631" progId="TCLayout.ActiveDocument.1">
                  <p:embed/>
                </p:oleObj>
              </mc:Choice>
              <mc:Fallback>
                <p:oleObj name="think-cell Folie" r:id="rId6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/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8"/>
          <a:srcRect/>
          <a:stretch/>
        </p:blipFill>
        <p:spPr>
          <a:xfrm>
            <a:off x="64390" y="64390"/>
            <a:ext cx="3532185" cy="3600953"/>
          </a:xfrm>
          <a:prstGeom prst="rect">
            <a:avLst/>
          </a:prstGeom>
          <a:solidFill>
            <a:schemeClr val="bg1"/>
          </a:solidFill>
          <a:ln w="762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8" name="Grafik 7"/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9"/>
          <a:srcRect/>
          <a:stretch/>
        </p:blipFill>
        <p:spPr>
          <a:xfrm>
            <a:off x="1783213" y="1799180"/>
            <a:ext cx="3610965" cy="3600953"/>
          </a:xfrm>
          <a:prstGeom prst="rect">
            <a:avLst/>
          </a:prstGeom>
          <a:solidFill>
            <a:schemeClr val="bg1"/>
          </a:solidFill>
          <a:ln w="762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0" name="Grafik 9"/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10"/>
          <a:srcRect/>
          <a:stretch/>
        </p:blipFill>
        <p:spPr>
          <a:xfrm>
            <a:off x="3574378" y="3533970"/>
            <a:ext cx="3554106" cy="3600953"/>
          </a:xfrm>
          <a:prstGeom prst="rect">
            <a:avLst/>
          </a:prstGeom>
          <a:solidFill>
            <a:schemeClr val="bg1"/>
          </a:solidFill>
          <a:ln w="762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57319507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15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uppieren 3"/>
          <p:cNvGrpSpPr/>
          <p:nvPr/>
        </p:nvGrpSpPr>
        <p:grpSpPr>
          <a:xfrm>
            <a:off x="256404" y="221063"/>
            <a:ext cx="6671445" cy="6776637"/>
            <a:chOff x="256405" y="221063"/>
            <a:chExt cx="3388560" cy="3158413"/>
          </a:xfrm>
        </p:grpSpPr>
        <p:sp>
          <p:nvSpPr>
            <p:cNvPr id="5" name="Rechteck 4"/>
            <p:cNvSpPr/>
            <p:nvPr/>
          </p:nvSpPr>
          <p:spPr>
            <a:xfrm>
              <a:off x="256405" y="221064"/>
              <a:ext cx="704778" cy="11176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hteck 5"/>
            <p:cNvSpPr/>
            <p:nvPr/>
          </p:nvSpPr>
          <p:spPr>
            <a:xfrm>
              <a:off x="1145333" y="241619"/>
              <a:ext cx="1600200" cy="53189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hteck 6"/>
            <p:cNvSpPr/>
            <p:nvPr/>
          </p:nvSpPr>
          <p:spPr>
            <a:xfrm>
              <a:off x="256405" y="1518173"/>
              <a:ext cx="704778" cy="11176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hteck 7"/>
            <p:cNvSpPr/>
            <p:nvPr/>
          </p:nvSpPr>
          <p:spPr>
            <a:xfrm>
              <a:off x="1164187" y="995764"/>
              <a:ext cx="704778" cy="164000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hteck 8"/>
            <p:cNvSpPr/>
            <p:nvPr/>
          </p:nvSpPr>
          <p:spPr>
            <a:xfrm>
              <a:off x="1988243" y="995764"/>
              <a:ext cx="774700" cy="7874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hteck 9"/>
            <p:cNvSpPr/>
            <p:nvPr/>
          </p:nvSpPr>
          <p:spPr>
            <a:xfrm>
              <a:off x="1988243" y="1941108"/>
              <a:ext cx="1608928" cy="7874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hteck 10"/>
            <p:cNvSpPr/>
            <p:nvPr/>
          </p:nvSpPr>
          <p:spPr>
            <a:xfrm>
              <a:off x="2934733" y="221063"/>
              <a:ext cx="704778" cy="146277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hteck 11"/>
            <p:cNvSpPr/>
            <p:nvPr/>
          </p:nvSpPr>
          <p:spPr>
            <a:xfrm>
              <a:off x="306865" y="2748257"/>
              <a:ext cx="1600200" cy="53189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hteck 12"/>
            <p:cNvSpPr/>
            <p:nvPr/>
          </p:nvSpPr>
          <p:spPr>
            <a:xfrm>
              <a:off x="1988243" y="2812256"/>
              <a:ext cx="774700" cy="56722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hteck 13"/>
            <p:cNvSpPr/>
            <p:nvPr/>
          </p:nvSpPr>
          <p:spPr>
            <a:xfrm>
              <a:off x="2870265" y="2812256"/>
              <a:ext cx="774700" cy="56722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334520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88" progId="TCLayout.ActiveDocument.1">
                  <p:embed/>
                </p:oleObj>
              </mc:Choice>
              <mc:Fallback>
                <p:oleObj name="think-cell Folie" r:id="rId3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Positionsrahmen 45"/>
          <p:cNvSpPr/>
          <p:nvPr/>
        </p:nvSpPr>
        <p:spPr>
          <a:xfrm>
            <a:off x="206196" y="206194"/>
            <a:ext cx="6786923" cy="6786925"/>
          </a:xfrm>
          <a:prstGeom prst="frame">
            <a:avLst>
              <a:gd name="adj1" fmla="val 13791"/>
            </a:avLst>
          </a:prstGeom>
          <a:solidFill>
            <a:schemeClr val="tx1"/>
          </a:solidFill>
          <a:ln w="1143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206195" y="6057119"/>
            <a:ext cx="1131154" cy="936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8" name="Rechteck 47"/>
          <p:cNvSpPr/>
          <p:nvPr/>
        </p:nvSpPr>
        <p:spPr>
          <a:xfrm>
            <a:off x="6057119" y="206194"/>
            <a:ext cx="936000" cy="113115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Rechteck 53"/>
          <p:cNvSpPr/>
          <p:nvPr/>
        </p:nvSpPr>
        <p:spPr>
          <a:xfrm>
            <a:off x="6057119" y="1337348"/>
            <a:ext cx="936000" cy="11311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5" name="Rechteck 54"/>
          <p:cNvSpPr/>
          <p:nvPr/>
        </p:nvSpPr>
        <p:spPr>
          <a:xfrm>
            <a:off x="6057119" y="2468502"/>
            <a:ext cx="936000" cy="113115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6" name="Rechteck 55"/>
          <p:cNvSpPr/>
          <p:nvPr/>
        </p:nvSpPr>
        <p:spPr>
          <a:xfrm>
            <a:off x="6057119" y="3599656"/>
            <a:ext cx="936000" cy="11311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7" name="Rechteck 56"/>
          <p:cNvSpPr/>
          <p:nvPr/>
        </p:nvSpPr>
        <p:spPr>
          <a:xfrm>
            <a:off x="6057119" y="4730810"/>
            <a:ext cx="936000" cy="113115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8" name="Rechteck 57"/>
          <p:cNvSpPr/>
          <p:nvPr/>
        </p:nvSpPr>
        <p:spPr>
          <a:xfrm>
            <a:off x="6057119" y="5861964"/>
            <a:ext cx="936000" cy="113115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9" name="Rechteck 58"/>
          <p:cNvSpPr/>
          <p:nvPr/>
        </p:nvSpPr>
        <p:spPr>
          <a:xfrm>
            <a:off x="1337349" y="6057119"/>
            <a:ext cx="1131154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0" name="Rechteck 59"/>
          <p:cNvSpPr/>
          <p:nvPr/>
        </p:nvSpPr>
        <p:spPr>
          <a:xfrm>
            <a:off x="2468503" y="6057119"/>
            <a:ext cx="1131154" cy="936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1" name="Rechteck 60"/>
          <p:cNvSpPr/>
          <p:nvPr/>
        </p:nvSpPr>
        <p:spPr>
          <a:xfrm>
            <a:off x="3599657" y="6057119"/>
            <a:ext cx="1131154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2" name="Rechteck 61"/>
          <p:cNvSpPr/>
          <p:nvPr/>
        </p:nvSpPr>
        <p:spPr>
          <a:xfrm>
            <a:off x="4730811" y="6057119"/>
            <a:ext cx="1131154" cy="936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3" name="Rechteck 62"/>
          <p:cNvSpPr/>
          <p:nvPr/>
        </p:nvSpPr>
        <p:spPr>
          <a:xfrm>
            <a:off x="5861965" y="6057119"/>
            <a:ext cx="1131154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winkliges Dreieck 5"/>
          <p:cNvSpPr/>
          <p:nvPr/>
        </p:nvSpPr>
        <p:spPr>
          <a:xfrm rot="5400000">
            <a:off x="206194" y="6057119"/>
            <a:ext cx="936000" cy="936000"/>
          </a:xfrm>
          <a:prstGeom prst="rt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4" name="Rechtwinkliges Dreieck 63"/>
          <p:cNvSpPr/>
          <p:nvPr/>
        </p:nvSpPr>
        <p:spPr>
          <a:xfrm rot="5400000">
            <a:off x="6057119" y="206193"/>
            <a:ext cx="936000" cy="936000"/>
          </a:xfrm>
          <a:prstGeom prst="rt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1191379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15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15" name="Objekt 1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uppieren 3"/>
          <p:cNvGrpSpPr/>
          <p:nvPr/>
        </p:nvGrpSpPr>
        <p:grpSpPr>
          <a:xfrm>
            <a:off x="256404" y="221063"/>
            <a:ext cx="6577347" cy="6620681"/>
            <a:chOff x="256405" y="221063"/>
            <a:chExt cx="3340766" cy="3085726"/>
          </a:xfrm>
        </p:grpSpPr>
        <p:sp>
          <p:nvSpPr>
            <p:cNvPr id="5" name="Rechteck 4"/>
            <p:cNvSpPr/>
            <p:nvPr/>
          </p:nvSpPr>
          <p:spPr>
            <a:xfrm>
              <a:off x="256405" y="221064"/>
              <a:ext cx="704778" cy="11176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hteck 5"/>
            <p:cNvSpPr/>
            <p:nvPr/>
          </p:nvSpPr>
          <p:spPr>
            <a:xfrm>
              <a:off x="1145333" y="221063"/>
              <a:ext cx="1600200" cy="68711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hteck 6"/>
            <p:cNvSpPr/>
            <p:nvPr/>
          </p:nvSpPr>
          <p:spPr>
            <a:xfrm>
              <a:off x="256405" y="1518173"/>
              <a:ext cx="704778" cy="11176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hteck 7"/>
            <p:cNvSpPr/>
            <p:nvPr/>
          </p:nvSpPr>
          <p:spPr>
            <a:xfrm>
              <a:off x="1145333" y="995764"/>
              <a:ext cx="761732" cy="164000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hteck 8"/>
            <p:cNvSpPr/>
            <p:nvPr/>
          </p:nvSpPr>
          <p:spPr>
            <a:xfrm>
              <a:off x="1988243" y="995764"/>
              <a:ext cx="757290" cy="7874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hteck 9"/>
            <p:cNvSpPr/>
            <p:nvPr/>
          </p:nvSpPr>
          <p:spPr>
            <a:xfrm>
              <a:off x="1988243" y="1911514"/>
              <a:ext cx="1608928" cy="72426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hteck 10"/>
            <p:cNvSpPr/>
            <p:nvPr/>
          </p:nvSpPr>
          <p:spPr>
            <a:xfrm>
              <a:off x="2870265" y="221063"/>
              <a:ext cx="726906" cy="1562101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hteck 11"/>
            <p:cNvSpPr/>
            <p:nvPr/>
          </p:nvSpPr>
          <p:spPr>
            <a:xfrm>
              <a:off x="256405" y="2774894"/>
              <a:ext cx="1650660" cy="53189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hteck 12"/>
            <p:cNvSpPr/>
            <p:nvPr/>
          </p:nvSpPr>
          <p:spPr>
            <a:xfrm>
              <a:off x="1988243" y="2774894"/>
              <a:ext cx="757290" cy="53189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hteck 13"/>
            <p:cNvSpPr/>
            <p:nvPr/>
          </p:nvSpPr>
          <p:spPr>
            <a:xfrm>
              <a:off x="2870265" y="2774894"/>
              <a:ext cx="726906" cy="53189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5675692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5073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Gerader Verbinder 6"/>
          <p:cNvCxnSpPr/>
          <p:nvPr/>
        </p:nvCxnSpPr>
        <p:spPr>
          <a:xfrm flipV="1">
            <a:off x="0" y="0"/>
            <a:ext cx="7199313" cy="7199313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feil nach rechts 11"/>
          <p:cNvSpPr/>
          <p:nvPr/>
        </p:nvSpPr>
        <p:spPr>
          <a:xfrm rot="2700000">
            <a:off x="695503" y="4873803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feil nach rechts 17"/>
          <p:cNvSpPr/>
          <p:nvPr/>
        </p:nvSpPr>
        <p:spPr>
          <a:xfrm rot="2700000">
            <a:off x="4666563" y="846245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Pfeil nach rechts 18"/>
          <p:cNvSpPr/>
          <p:nvPr/>
        </p:nvSpPr>
        <p:spPr>
          <a:xfrm rot="2700000">
            <a:off x="2594561" y="2918809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uppieren 1"/>
          <p:cNvGrpSpPr/>
          <p:nvPr/>
        </p:nvGrpSpPr>
        <p:grpSpPr>
          <a:xfrm>
            <a:off x="329735" y="262244"/>
            <a:ext cx="2429385" cy="2441102"/>
            <a:chOff x="392192" y="566965"/>
            <a:chExt cx="6399869" cy="6430735"/>
          </a:xfrm>
        </p:grpSpPr>
        <p:sp>
          <p:nvSpPr>
            <p:cNvPr id="11" name="Rechteck 10"/>
            <p:cNvSpPr>
              <a:spLocks/>
            </p:cNvSpPr>
            <p:nvPr/>
          </p:nvSpPr>
          <p:spPr>
            <a:xfrm>
              <a:off x="392192" y="566967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hteck 12"/>
            <p:cNvSpPr>
              <a:spLocks/>
            </p:cNvSpPr>
            <p:nvPr/>
          </p:nvSpPr>
          <p:spPr>
            <a:xfrm>
              <a:off x="2142327" y="611070"/>
              <a:ext cx="2878919" cy="79532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hteck 13"/>
            <p:cNvSpPr>
              <a:spLocks/>
            </p:cNvSpPr>
            <p:nvPr/>
          </p:nvSpPr>
          <p:spPr>
            <a:xfrm>
              <a:off x="392192" y="3350022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hteck 14"/>
            <p:cNvSpPr>
              <a:spLocks/>
            </p:cNvSpPr>
            <p:nvPr/>
          </p:nvSpPr>
          <p:spPr>
            <a:xfrm>
              <a:off x="2179446" y="2229150"/>
              <a:ext cx="1116000" cy="317287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hteck 15"/>
            <p:cNvSpPr>
              <a:spLocks/>
            </p:cNvSpPr>
            <p:nvPr/>
          </p:nvSpPr>
          <p:spPr>
            <a:xfrm>
              <a:off x="3801860" y="2229151"/>
              <a:ext cx="1253663" cy="134352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hteck 16"/>
            <p:cNvSpPr>
              <a:spLocks/>
            </p:cNvSpPr>
            <p:nvPr/>
          </p:nvSpPr>
          <p:spPr>
            <a:xfrm>
              <a:off x="3801860" y="4257465"/>
              <a:ext cx="2896103" cy="134352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hteck 19"/>
            <p:cNvSpPr>
              <a:spLocks/>
            </p:cNvSpPr>
            <p:nvPr/>
          </p:nvSpPr>
          <p:spPr>
            <a:xfrm>
              <a:off x="5665322" y="566965"/>
              <a:ext cx="1116000" cy="279260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hteck 20"/>
            <p:cNvSpPr>
              <a:spLocks/>
            </p:cNvSpPr>
            <p:nvPr/>
          </p:nvSpPr>
          <p:spPr>
            <a:xfrm>
              <a:off x="491539" y="5989269"/>
              <a:ext cx="2878919" cy="79532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hteck 21"/>
            <p:cNvSpPr>
              <a:spLocks/>
            </p:cNvSpPr>
            <p:nvPr/>
          </p:nvSpPr>
          <p:spPr>
            <a:xfrm>
              <a:off x="3801860" y="6126585"/>
              <a:ext cx="1253663" cy="87111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hteck 22"/>
            <p:cNvSpPr>
              <a:spLocks/>
            </p:cNvSpPr>
            <p:nvPr/>
          </p:nvSpPr>
          <p:spPr>
            <a:xfrm>
              <a:off x="5538398" y="6126585"/>
              <a:ext cx="1253663" cy="87111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4" name="Gruppieren 23"/>
          <p:cNvGrpSpPr/>
          <p:nvPr/>
        </p:nvGrpSpPr>
        <p:grpSpPr>
          <a:xfrm>
            <a:off x="4527730" y="4636497"/>
            <a:ext cx="2425309" cy="2360208"/>
            <a:chOff x="392192" y="566962"/>
            <a:chExt cx="6389132" cy="6217632"/>
          </a:xfrm>
        </p:grpSpPr>
        <p:sp>
          <p:nvSpPr>
            <p:cNvPr id="25" name="Rechteck 24"/>
            <p:cNvSpPr>
              <a:spLocks/>
            </p:cNvSpPr>
            <p:nvPr/>
          </p:nvSpPr>
          <p:spPr>
            <a:xfrm>
              <a:off x="392192" y="566967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hteck 25"/>
            <p:cNvSpPr>
              <a:spLocks/>
            </p:cNvSpPr>
            <p:nvPr/>
          </p:nvSpPr>
          <p:spPr>
            <a:xfrm>
              <a:off x="2142328" y="566968"/>
              <a:ext cx="2878918" cy="83942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hteck 26"/>
            <p:cNvSpPr>
              <a:spLocks/>
            </p:cNvSpPr>
            <p:nvPr/>
          </p:nvSpPr>
          <p:spPr>
            <a:xfrm>
              <a:off x="392192" y="3350022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hteck 27"/>
            <p:cNvSpPr>
              <a:spLocks/>
            </p:cNvSpPr>
            <p:nvPr/>
          </p:nvSpPr>
          <p:spPr>
            <a:xfrm>
              <a:off x="2142328" y="2229150"/>
              <a:ext cx="1153119" cy="317287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hteck 28"/>
            <p:cNvSpPr>
              <a:spLocks/>
            </p:cNvSpPr>
            <p:nvPr/>
          </p:nvSpPr>
          <p:spPr>
            <a:xfrm>
              <a:off x="3801860" y="2229152"/>
              <a:ext cx="1219386" cy="134353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hteck 29"/>
            <p:cNvSpPr>
              <a:spLocks/>
            </p:cNvSpPr>
            <p:nvPr/>
          </p:nvSpPr>
          <p:spPr>
            <a:xfrm>
              <a:off x="3801860" y="4257465"/>
              <a:ext cx="2979464" cy="114455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hteck 30"/>
            <p:cNvSpPr>
              <a:spLocks/>
            </p:cNvSpPr>
            <p:nvPr/>
          </p:nvSpPr>
          <p:spPr>
            <a:xfrm>
              <a:off x="5665323" y="566962"/>
              <a:ext cx="1116001" cy="300571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hteck 31"/>
            <p:cNvSpPr>
              <a:spLocks/>
            </p:cNvSpPr>
            <p:nvPr/>
          </p:nvSpPr>
          <p:spPr>
            <a:xfrm>
              <a:off x="392192" y="5989268"/>
              <a:ext cx="2903254" cy="79532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hteck 32"/>
            <p:cNvSpPr>
              <a:spLocks/>
            </p:cNvSpPr>
            <p:nvPr/>
          </p:nvSpPr>
          <p:spPr>
            <a:xfrm>
              <a:off x="3801860" y="5989268"/>
              <a:ext cx="1219386" cy="79532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hteck 33"/>
            <p:cNvSpPr>
              <a:spLocks/>
            </p:cNvSpPr>
            <p:nvPr/>
          </p:nvSpPr>
          <p:spPr>
            <a:xfrm>
              <a:off x="5665323" y="5989268"/>
              <a:ext cx="1116001" cy="79532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9366460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Gerader Verbinder 6"/>
          <p:cNvCxnSpPr/>
          <p:nvPr/>
        </p:nvCxnSpPr>
        <p:spPr>
          <a:xfrm flipV="1">
            <a:off x="-1" y="3599656"/>
            <a:ext cx="7199313" cy="1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feil nach rechts 11"/>
          <p:cNvSpPr/>
          <p:nvPr/>
        </p:nvSpPr>
        <p:spPr>
          <a:xfrm rot="5400000">
            <a:off x="-120623" y="2820910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feil nach rechts 17"/>
          <p:cNvSpPr/>
          <p:nvPr/>
        </p:nvSpPr>
        <p:spPr>
          <a:xfrm rot="5400000">
            <a:off x="5060560" y="2820910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Pfeil nach rechts 18"/>
          <p:cNvSpPr/>
          <p:nvPr/>
        </p:nvSpPr>
        <p:spPr>
          <a:xfrm rot="5400000">
            <a:off x="2469967" y="2820910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uppieren 1"/>
          <p:cNvGrpSpPr/>
          <p:nvPr/>
        </p:nvGrpSpPr>
        <p:grpSpPr>
          <a:xfrm>
            <a:off x="1053235" y="232523"/>
            <a:ext cx="5092840" cy="1909206"/>
            <a:chOff x="392192" y="566965"/>
            <a:chExt cx="6399869" cy="6430735"/>
          </a:xfrm>
        </p:grpSpPr>
        <p:sp>
          <p:nvSpPr>
            <p:cNvPr id="11" name="Rechteck 10"/>
            <p:cNvSpPr>
              <a:spLocks/>
            </p:cNvSpPr>
            <p:nvPr/>
          </p:nvSpPr>
          <p:spPr>
            <a:xfrm>
              <a:off x="392192" y="566967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hteck 12"/>
            <p:cNvSpPr>
              <a:spLocks/>
            </p:cNvSpPr>
            <p:nvPr/>
          </p:nvSpPr>
          <p:spPr>
            <a:xfrm>
              <a:off x="2142327" y="611070"/>
              <a:ext cx="2878919" cy="79532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hteck 13"/>
            <p:cNvSpPr>
              <a:spLocks/>
            </p:cNvSpPr>
            <p:nvPr/>
          </p:nvSpPr>
          <p:spPr>
            <a:xfrm>
              <a:off x="392192" y="3350022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hteck 14"/>
            <p:cNvSpPr>
              <a:spLocks/>
            </p:cNvSpPr>
            <p:nvPr/>
          </p:nvSpPr>
          <p:spPr>
            <a:xfrm>
              <a:off x="2179446" y="2229150"/>
              <a:ext cx="1116000" cy="317287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hteck 15"/>
            <p:cNvSpPr>
              <a:spLocks/>
            </p:cNvSpPr>
            <p:nvPr/>
          </p:nvSpPr>
          <p:spPr>
            <a:xfrm>
              <a:off x="3801860" y="2229151"/>
              <a:ext cx="1253663" cy="134352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hteck 16"/>
            <p:cNvSpPr>
              <a:spLocks/>
            </p:cNvSpPr>
            <p:nvPr/>
          </p:nvSpPr>
          <p:spPr>
            <a:xfrm>
              <a:off x="3801860" y="4257465"/>
              <a:ext cx="2896103" cy="134352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hteck 19"/>
            <p:cNvSpPr>
              <a:spLocks/>
            </p:cNvSpPr>
            <p:nvPr/>
          </p:nvSpPr>
          <p:spPr>
            <a:xfrm>
              <a:off x="5665322" y="566965"/>
              <a:ext cx="1116000" cy="279260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hteck 20"/>
            <p:cNvSpPr>
              <a:spLocks/>
            </p:cNvSpPr>
            <p:nvPr/>
          </p:nvSpPr>
          <p:spPr>
            <a:xfrm>
              <a:off x="491539" y="5989269"/>
              <a:ext cx="2878919" cy="79532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hteck 21"/>
            <p:cNvSpPr>
              <a:spLocks/>
            </p:cNvSpPr>
            <p:nvPr/>
          </p:nvSpPr>
          <p:spPr>
            <a:xfrm>
              <a:off x="3801860" y="6126585"/>
              <a:ext cx="1253663" cy="87111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hteck 22"/>
            <p:cNvSpPr>
              <a:spLocks/>
            </p:cNvSpPr>
            <p:nvPr/>
          </p:nvSpPr>
          <p:spPr>
            <a:xfrm>
              <a:off x="5538398" y="6126585"/>
              <a:ext cx="1253663" cy="87111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4" name="Gruppieren 23"/>
          <p:cNvGrpSpPr/>
          <p:nvPr/>
        </p:nvGrpSpPr>
        <p:grpSpPr>
          <a:xfrm>
            <a:off x="1057507" y="5054359"/>
            <a:ext cx="5084296" cy="1845938"/>
            <a:chOff x="392192" y="566962"/>
            <a:chExt cx="6389132" cy="6217632"/>
          </a:xfrm>
        </p:grpSpPr>
        <p:sp>
          <p:nvSpPr>
            <p:cNvPr id="25" name="Rechteck 24"/>
            <p:cNvSpPr>
              <a:spLocks/>
            </p:cNvSpPr>
            <p:nvPr/>
          </p:nvSpPr>
          <p:spPr>
            <a:xfrm>
              <a:off x="392192" y="566967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hteck 25"/>
            <p:cNvSpPr>
              <a:spLocks/>
            </p:cNvSpPr>
            <p:nvPr/>
          </p:nvSpPr>
          <p:spPr>
            <a:xfrm>
              <a:off x="2142328" y="566968"/>
              <a:ext cx="2878918" cy="83942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hteck 26"/>
            <p:cNvSpPr>
              <a:spLocks/>
            </p:cNvSpPr>
            <p:nvPr/>
          </p:nvSpPr>
          <p:spPr>
            <a:xfrm>
              <a:off x="392192" y="3350022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hteck 27"/>
            <p:cNvSpPr>
              <a:spLocks/>
            </p:cNvSpPr>
            <p:nvPr/>
          </p:nvSpPr>
          <p:spPr>
            <a:xfrm>
              <a:off x="2142328" y="2229150"/>
              <a:ext cx="1153119" cy="317287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hteck 28"/>
            <p:cNvSpPr>
              <a:spLocks/>
            </p:cNvSpPr>
            <p:nvPr/>
          </p:nvSpPr>
          <p:spPr>
            <a:xfrm>
              <a:off x="3801860" y="2229152"/>
              <a:ext cx="1219386" cy="134353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hteck 29"/>
            <p:cNvSpPr>
              <a:spLocks/>
            </p:cNvSpPr>
            <p:nvPr/>
          </p:nvSpPr>
          <p:spPr>
            <a:xfrm>
              <a:off x="3801860" y="4257465"/>
              <a:ext cx="2979464" cy="114455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hteck 30"/>
            <p:cNvSpPr>
              <a:spLocks/>
            </p:cNvSpPr>
            <p:nvPr/>
          </p:nvSpPr>
          <p:spPr>
            <a:xfrm>
              <a:off x="5665323" y="566962"/>
              <a:ext cx="1116001" cy="300571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hteck 31"/>
            <p:cNvSpPr>
              <a:spLocks/>
            </p:cNvSpPr>
            <p:nvPr/>
          </p:nvSpPr>
          <p:spPr>
            <a:xfrm>
              <a:off x="392192" y="5989268"/>
              <a:ext cx="2903254" cy="79532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hteck 32"/>
            <p:cNvSpPr>
              <a:spLocks/>
            </p:cNvSpPr>
            <p:nvPr/>
          </p:nvSpPr>
          <p:spPr>
            <a:xfrm>
              <a:off x="3801860" y="5989268"/>
              <a:ext cx="1219386" cy="79532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hteck 33"/>
            <p:cNvSpPr>
              <a:spLocks/>
            </p:cNvSpPr>
            <p:nvPr/>
          </p:nvSpPr>
          <p:spPr>
            <a:xfrm>
              <a:off x="5665323" y="5989268"/>
              <a:ext cx="1116001" cy="79532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3619178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Gerader Verbinder 6"/>
          <p:cNvCxnSpPr/>
          <p:nvPr/>
        </p:nvCxnSpPr>
        <p:spPr>
          <a:xfrm rot="16200000" flipV="1">
            <a:off x="33246" y="3599655"/>
            <a:ext cx="7199313" cy="1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feil nach rechts 11"/>
          <p:cNvSpPr/>
          <p:nvPr/>
        </p:nvSpPr>
        <p:spPr>
          <a:xfrm>
            <a:off x="2462979" y="5444515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feil nach rechts 17"/>
          <p:cNvSpPr/>
          <p:nvPr/>
        </p:nvSpPr>
        <p:spPr>
          <a:xfrm>
            <a:off x="2462978" y="263332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Pfeil nach rechts 18"/>
          <p:cNvSpPr/>
          <p:nvPr/>
        </p:nvSpPr>
        <p:spPr>
          <a:xfrm>
            <a:off x="2462979" y="2853925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uppieren 1"/>
          <p:cNvGrpSpPr/>
          <p:nvPr/>
        </p:nvGrpSpPr>
        <p:grpSpPr>
          <a:xfrm rot="16200000">
            <a:off x="-1326049" y="2645054"/>
            <a:ext cx="5092840" cy="1909206"/>
            <a:chOff x="392192" y="566965"/>
            <a:chExt cx="6399869" cy="6430735"/>
          </a:xfrm>
        </p:grpSpPr>
        <p:sp>
          <p:nvSpPr>
            <p:cNvPr id="11" name="Rechteck 10"/>
            <p:cNvSpPr>
              <a:spLocks/>
            </p:cNvSpPr>
            <p:nvPr/>
          </p:nvSpPr>
          <p:spPr>
            <a:xfrm>
              <a:off x="392192" y="566967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hteck 12"/>
            <p:cNvSpPr>
              <a:spLocks/>
            </p:cNvSpPr>
            <p:nvPr/>
          </p:nvSpPr>
          <p:spPr>
            <a:xfrm>
              <a:off x="2142327" y="611070"/>
              <a:ext cx="2878919" cy="79532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hteck 13"/>
            <p:cNvSpPr>
              <a:spLocks/>
            </p:cNvSpPr>
            <p:nvPr/>
          </p:nvSpPr>
          <p:spPr>
            <a:xfrm>
              <a:off x="392192" y="3350022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hteck 14"/>
            <p:cNvSpPr>
              <a:spLocks/>
            </p:cNvSpPr>
            <p:nvPr/>
          </p:nvSpPr>
          <p:spPr>
            <a:xfrm>
              <a:off x="2179446" y="2229150"/>
              <a:ext cx="1116000" cy="317287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hteck 15"/>
            <p:cNvSpPr>
              <a:spLocks/>
            </p:cNvSpPr>
            <p:nvPr/>
          </p:nvSpPr>
          <p:spPr>
            <a:xfrm>
              <a:off x="3801860" y="2229151"/>
              <a:ext cx="1253663" cy="134352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hteck 16"/>
            <p:cNvSpPr>
              <a:spLocks/>
            </p:cNvSpPr>
            <p:nvPr/>
          </p:nvSpPr>
          <p:spPr>
            <a:xfrm>
              <a:off x="3801860" y="4257465"/>
              <a:ext cx="2896103" cy="134352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hteck 19"/>
            <p:cNvSpPr>
              <a:spLocks/>
            </p:cNvSpPr>
            <p:nvPr/>
          </p:nvSpPr>
          <p:spPr>
            <a:xfrm>
              <a:off x="5665322" y="566965"/>
              <a:ext cx="1116000" cy="279260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hteck 20"/>
            <p:cNvSpPr>
              <a:spLocks/>
            </p:cNvSpPr>
            <p:nvPr/>
          </p:nvSpPr>
          <p:spPr>
            <a:xfrm>
              <a:off x="491539" y="5989269"/>
              <a:ext cx="2878919" cy="79532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hteck 21"/>
            <p:cNvSpPr>
              <a:spLocks/>
            </p:cNvSpPr>
            <p:nvPr/>
          </p:nvSpPr>
          <p:spPr>
            <a:xfrm>
              <a:off x="3801860" y="6126585"/>
              <a:ext cx="1253663" cy="87111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hteck 22"/>
            <p:cNvSpPr>
              <a:spLocks/>
            </p:cNvSpPr>
            <p:nvPr/>
          </p:nvSpPr>
          <p:spPr>
            <a:xfrm>
              <a:off x="5538398" y="6126585"/>
              <a:ext cx="1253663" cy="87111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4" name="Gruppieren 23"/>
          <p:cNvGrpSpPr/>
          <p:nvPr/>
        </p:nvGrpSpPr>
        <p:grpSpPr>
          <a:xfrm rot="16200000">
            <a:off x="3468426" y="2676687"/>
            <a:ext cx="5084296" cy="1845938"/>
            <a:chOff x="392192" y="566962"/>
            <a:chExt cx="6389132" cy="6217632"/>
          </a:xfrm>
        </p:grpSpPr>
        <p:sp>
          <p:nvSpPr>
            <p:cNvPr id="25" name="Rechteck 24"/>
            <p:cNvSpPr>
              <a:spLocks/>
            </p:cNvSpPr>
            <p:nvPr/>
          </p:nvSpPr>
          <p:spPr>
            <a:xfrm>
              <a:off x="392192" y="566967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hteck 25"/>
            <p:cNvSpPr>
              <a:spLocks/>
            </p:cNvSpPr>
            <p:nvPr/>
          </p:nvSpPr>
          <p:spPr>
            <a:xfrm>
              <a:off x="2142328" y="566968"/>
              <a:ext cx="2878918" cy="83942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hteck 26"/>
            <p:cNvSpPr>
              <a:spLocks/>
            </p:cNvSpPr>
            <p:nvPr/>
          </p:nvSpPr>
          <p:spPr>
            <a:xfrm>
              <a:off x="392192" y="3350022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hteck 27"/>
            <p:cNvSpPr>
              <a:spLocks/>
            </p:cNvSpPr>
            <p:nvPr/>
          </p:nvSpPr>
          <p:spPr>
            <a:xfrm>
              <a:off x="2142328" y="2229150"/>
              <a:ext cx="1153119" cy="317287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hteck 28"/>
            <p:cNvSpPr>
              <a:spLocks/>
            </p:cNvSpPr>
            <p:nvPr/>
          </p:nvSpPr>
          <p:spPr>
            <a:xfrm>
              <a:off x="3801860" y="2229152"/>
              <a:ext cx="1219386" cy="134353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hteck 29"/>
            <p:cNvSpPr>
              <a:spLocks/>
            </p:cNvSpPr>
            <p:nvPr/>
          </p:nvSpPr>
          <p:spPr>
            <a:xfrm>
              <a:off x="3801860" y="4257465"/>
              <a:ext cx="2979464" cy="114455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hteck 30"/>
            <p:cNvSpPr>
              <a:spLocks/>
            </p:cNvSpPr>
            <p:nvPr/>
          </p:nvSpPr>
          <p:spPr>
            <a:xfrm>
              <a:off x="5665323" y="566962"/>
              <a:ext cx="1116001" cy="300571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hteck 31"/>
            <p:cNvSpPr>
              <a:spLocks/>
            </p:cNvSpPr>
            <p:nvPr/>
          </p:nvSpPr>
          <p:spPr>
            <a:xfrm>
              <a:off x="392192" y="5989268"/>
              <a:ext cx="2903254" cy="79532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hteck 32"/>
            <p:cNvSpPr>
              <a:spLocks/>
            </p:cNvSpPr>
            <p:nvPr/>
          </p:nvSpPr>
          <p:spPr>
            <a:xfrm>
              <a:off x="3801860" y="5989268"/>
              <a:ext cx="1219386" cy="79532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hteck 33"/>
            <p:cNvSpPr>
              <a:spLocks/>
            </p:cNvSpPr>
            <p:nvPr/>
          </p:nvSpPr>
          <p:spPr>
            <a:xfrm>
              <a:off x="5665323" y="5989268"/>
              <a:ext cx="1116001" cy="79532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67297217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654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4"/>
          <p:cNvSpPr>
            <a:spLocks/>
          </p:cNvSpPr>
          <p:nvPr/>
        </p:nvSpPr>
        <p:spPr>
          <a:xfrm>
            <a:off x="426221" y="426221"/>
            <a:ext cx="6346870" cy="6346870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>
            <a:solidFill>
              <a:schemeClr val="tx1">
                <a:lumMod val="10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tangle 4"/>
          <p:cNvSpPr>
            <a:spLocks/>
          </p:cNvSpPr>
          <p:nvPr/>
        </p:nvSpPr>
        <p:spPr>
          <a:xfrm>
            <a:off x="426221" y="426221"/>
            <a:ext cx="4191500" cy="6346870"/>
          </a:xfrm>
          <a:prstGeom prst="rect">
            <a:avLst/>
          </a:prstGeom>
          <a:noFill/>
          <a:ln w="127000">
            <a:solidFill>
              <a:schemeClr val="tx1">
                <a:lumMod val="50000"/>
                <a:lumOff val="50000"/>
              </a:schemeClr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10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9" name="Rechteck 8"/>
          <p:cNvSpPr/>
          <p:nvPr/>
        </p:nvSpPr>
        <p:spPr>
          <a:xfrm>
            <a:off x="3944983" y="2978330"/>
            <a:ext cx="966651" cy="1227909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ight Arrow 14"/>
          <p:cNvSpPr/>
          <p:nvPr/>
        </p:nvSpPr>
        <p:spPr>
          <a:xfrm>
            <a:off x="4289171" y="2857535"/>
            <a:ext cx="2389745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9603138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8948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4"/>
          <p:cNvSpPr>
            <a:spLocks/>
          </p:cNvSpPr>
          <p:nvPr/>
        </p:nvSpPr>
        <p:spPr>
          <a:xfrm rot="5400000">
            <a:off x="426221" y="426221"/>
            <a:ext cx="6346870" cy="6346870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>
            <a:solidFill>
              <a:schemeClr val="tx1">
                <a:lumMod val="10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tangle 4"/>
          <p:cNvSpPr>
            <a:spLocks/>
          </p:cNvSpPr>
          <p:nvPr/>
        </p:nvSpPr>
        <p:spPr>
          <a:xfrm rot="5400000">
            <a:off x="1503906" y="-651464"/>
            <a:ext cx="4191500" cy="6346870"/>
          </a:xfrm>
          <a:prstGeom prst="rect">
            <a:avLst/>
          </a:prstGeom>
          <a:noFill/>
          <a:ln w="127000">
            <a:solidFill>
              <a:schemeClr val="tx1">
                <a:lumMod val="50000"/>
                <a:lumOff val="50000"/>
              </a:schemeClr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10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8" name="Rectangle 8"/>
          <p:cNvSpPr>
            <a:spLocks/>
          </p:cNvSpPr>
          <p:nvPr/>
        </p:nvSpPr>
        <p:spPr>
          <a:xfrm>
            <a:off x="2985701" y="4036422"/>
            <a:ext cx="1227909" cy="966651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ight Arrow 14"/>
          <p:cNvSpPr/>
          <p:nvPr/>
        </p:nvSpPr>
        <p:spPr>
          <a:xfrm rot="5400000">
            <a:off x="2404784" y="4741923"/>
            <a:ext cx="2389745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062046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8464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>
            <a:spLocks/>
          </p:cNvSpPr>
          <p:nvPr/>
        </p:nvSpPr>
        <p:spPr>
          <a:xfrm>
            <a:off x="461304" y="383767"/>
            <a:ext cx="3623265" cy="6346870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>
            <a:solidFill>
              <a:schemeClr val="tx1">
                <a:lumMod val="10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6" name="Right Arrow 14"/>
          <p:cNvSpPr/>
          <p:nvPr/>
        </p:nvSpPr>
        <p:spPr>
          <a:xfrm rot="16200000" flipH="1">
            <a:off x="4251541" y="4174003"/>
            <a:ext cx="2563583" cy="2549683"/>
          </a:xfrm>
          <a:prstGeom prst="bentUp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4"/>
          <p:cNvSpPr>
            <a:spLocks/>
          </p:cNvSpPr>
          <p:nvPr/>
        </p:nvSpPr>
        <p:spPr>
          <a:xfrm>
            <a:off x="461304" y="383767"/>
            <a:ext cx="6346870" cy="3623265"/>
          </a:xfrm>
          <a:prstGeom prst="rect">
            <a:avLst/>
          </a:prstGeom>
          <a:noFill/>
          <a:ln w="127000">
            <a:solidFill>
              <a:schemeClr val="tx1">
                <a:lumMod val="50000"/>
                <a:lumOff val="50000"/>
              </a:schemeClr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10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</p:spTree>
    <p:extLst>
      <p:ext uri="{BB962C8B-B14F-4D97-AF65-F5344CB8AC3E}">
        <p14:creationId xmlns:p14="http://schemas.microsoft.com/office/powerpoint/2010/main" val="3537316959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7216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4"/>
          <p:cNvSpPr>
            <a:spLocks/>
          </p:cNvSpPr>
          <p:nvPr/>
        </p:nvSpPr>
        <p:spPr>
          <a:xfrm rot="5400000">
            <a:off x="2854235" y="529046"/>
            <a:ext cx="3814354" cy="3814354"/>
          </a:xfrm>
          <a:prstGeom prst="rect">
            <a:avLst/>
          </a:prstGeom>
          <a:noFill/>
          <a:ln w="127000">
            <a:solidFill>
              <a:schemeClr val="tx1">
                <a:lumMod val="50000"/>
                <a:lumOff val="50000"/>
              </a:schemeClr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10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9" name="Rectangle 4"/>
          <p:cNvSpPr>
            <a:spLocks/>
          </p:cNvSpPr>
          <p:nvPr/>
        </p:nvSpPr>
        <p:spPr>
          <a:xfrm rot="5400000">
            <a:off x="529043" y="2854238"/>
            <a:ext cx="3814354" cy="3814354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>
            <a:solidFill>
              <a:schemeClr val="tx1">
                <a:lumMod val="10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10" name="Right Arrow 14"/>
          <p:cNvSpPr/>
          <p:nvPr/>
        </p:nvSpPr>
        <p:spPr>
          <a:xfrm rot="8061041">
            <a:off x="2691221" y="2354811"/>
            <a:ext cx="2873491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Gerader Verbinder 16"/>
          <p:cNvCxnSpPr/>
          <p:nvPr/>
        </p:nvCxnSpPr>
        <p:spPr>
          <a:xfrm>
            <a:off x="58783" y="0"/>
            <a:ext cx="0" cy="7199313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>
          <a:xfrm>
            <a:off x="0" y="58783"/>
            <a:ext cx="7199313" cy="0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7689573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1821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4"/>
          <p:cNvSpPr>
            <a:spLocks/>
          </p:cNvSpPr>
          <p:nvPr/>
        </p:nvSpPr>
        <p:spPr>
          <a:xfrm rot="5400000">
            <a:off x="2854235" y="529046"/>
            <a:ext cx="3814354" cy="3814354"/>
          </a:xfrm>
          <a:prstGeom prst="rect">
            <a:avLst/>
          </a:prstGeom>
          <a:noFill/>
          <a:ln w="127000">
            <a:solidFill>
              <a:schemeClr val="tx1">
                <a:lumMod val="50000"/>
                <a:lumOff val="50000"/>
              </a:schemeClr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10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9" name="Rectangle 4"/>
          <p:cNvSpPr>
            <a:spLocks/>
          </p:cNvSpPr>
          <p:nvPr/>
        </p:nvSpPr>
        <p:spPr>
          <a:xfrm rot="5400000">
            <a:off x="2854235" y="2854238"/>
            <a:ext cx="3814354" cy="3814354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>
            <a:solidFill>
              <a:schemeClr val="tx1">
                <a:lumMod val="10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6" name="Rectangle 8"/>
          <p:cNvSpPr>
            <a:spLocks/>
          </p:cNvSpPr>
          <p:nvPr/>
        </p:nvSpPr>
        <p:spPr>
          <a:xfrm>
            <a:off x="4147456" y="2795454"/>
            <a:ext cx="1227909" cy="966651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ght Arrow 14"/>
          <p:cNvSpPr/>
          <p:nvPr/>
        </p:nvSpPr>
        <p:spPr>
          <a:xfrm rot="5400000">
            <a:off x="3324666" y="2354812"/>
            <a:ext cx="2873491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16"/>
          <p:cNvCxnSpPr/>
          <p:nvPr/>
        </p:nvCxnSpPr>
        <p:spPr>
          <a:xfrm>
            <a:off x="58783" y="0"/>
            <a:ext cx="0" cy="7199313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8"/>
          <p:cNvCxnSpPr/>
          <p:nvPr/>
        </p:nvCxnSpPr>
        <p:spPr>
          <a:xfrm>
            <a:off x="0" y="58783"/>
            <a:ext cx="7199313" cy="0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4584445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4"/>
          <p:cNvSpPr>
            <a:spLocks/>
          </p:cNvSpPr>
          <p:nvPr/>
        </p:nvSpPr>
        <p:spPr>
          <a:xfrm rot="5400000">
            <a:off x="2854235" y="529046"/>
            <a:ext cx="3814354" cy="3814354"/>
          </a:xfrm>
          <a:prstGeom prst="rect">
            <a:avLst/>
          </a:prstGeom>
          <a:noFill/>
          <a:ln w="127000">
            <a:solidFill>
              <a:schemeClr val="tx1">
                <a:lumMod val="50000"/>
                <a:lumOff val="50000"/>
              </a:schemeClr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10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9" name="Rectangle 4"/>
          <p:cNvSpPr>
            <a:spLocks/>
          </p:cNvSpPr>
          <p:nvPr/>
        </p:nvSpPr>
        <p:spPr>
          <a:xfrm rot="5400000">
            <a:off x="529043" y="529046"/>
            <a:ext cx="3814354" cy="3814354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>
            <a:solidFill>
              <a:schemeClr val="tx1">
                <a:lumMod val="10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6" name="Rectangle 8"/>
          <p:cNvSpPr>
            <a:spLocks/>
          </p:cNvSpPr>
          <p:nvPr/>
        </p:nvSpPr>
        <p:spPr>
          <a:xfrm>
            <a:off x="3180720" y="1952897"/>
            <a:ext cx="1227909" cy="966651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ght Arrow 14"/>
          <p:cNvSpPr/>
          <p:nvPr/>
        </p:nvSpPr>
        <p:spPr>
          <a:xfrm rot="10800000">
            <a:off x="2906651" y="1694102"/>
            <a:ext cx="2873491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16"/>
          <p:cNvCxnSpPr/>
          <p:nvPr/>
        </p:nvCxnSpPr>
        <p:spPr>
          <a:xfrm>
            <a:off x="58783" y="0"/>
            <a:ext cx="0" cy="7199313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8"/>
          <p:cNvCxnSpPr/>
          <p:nvPr/>
        </p:nvCxnSpPr>
        <p:spPr>
          <a:xfrm>
            <a:off x="0" y="58783"/>
            <a:ext cx="7199313" cy="0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29061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3087719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0871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>
            <p:custDataLst>
              <p:tags r:id="rId2"/>
            </p:custDataLst>
          </p:nvPr>
        </p:nvSpPr>
        <p:spPr>
          <a:xfrm>
            <a:off x="226174" y="1463040"/>
            <a:ext cx="6746966" cy="4180114"/>
          </a:xfrm>
          <a:custGeom>
            <a:avLst/>
            <a:gdLst>
              <a:gd name="connsiteX0" fmla="*/ 0 w 127000"/>
              <a:gd name="connsiteY0" fmla="*/ 0 h 127000"/>
              <a:gd name="connsiteX1" fmla="*/ 127000 w 127000"/>
              <a:gd name="connsiteY1" fmla="*/ 0 h 127000"/>
              <a:gd name="connsiteX2" fmla="*/ 127000 w 127000"/>
              <a:gd name="connsiteY2" fmla="*/ 127000 h 127000"/>
              <a:gd name="connsiteX3" fmla="*/ 0 w 127000"/>
              <a:gd name="connsiteY3" fmla="*/ 127000 h 127000"/>
              <a:gd name="connsiteX4" fmla="*/ 0 w 127000"/>
              <a:gd name="connsiteY4" fmla="*/ 0 h 127000"/>
              <a:gd name="connsiteX0" fmla="*/ 12700 w 139700"/>
              <a:gd name="connsiteY0" fmla="*/ 12700 h 139700"/>
              <a:gd name="connsiteX1" fmla="*/ 0 w 139700"/>
              <a:gd name="connsiteY1" fmla="*/ 0 h 139700"/>
              <a:gd name="connsiteX2" fmla="*/ 139700 w 139700"/>
              <a:gd name="connsiteY2" fmla="*/ 12700 h 139700"/>
              <a:gd name="connsiteX3" fmla="*/ 139700 w 139700"/>
              <a:gd name="connsiteY3" fmla="*/ 139700 h 139700"/>
              <a:gd name="connsiteX4" fmla="*/ 12700 w 139700"/>
              <a:gd name="connsiteY4" fmla="*/ 139700 h 139700"/>
              <a:gd name="connsiteX5" fmla="*/ 12700 w 139700"/>
              <a:gd name="connsiteY5" fmla="*/ 12700 h 139700"/>
              <a:gd name="connsiteX0" fmla="*/ 0 w 127000"/>
              <a:gd name="connsiteY0" fmla="*/ 0 h 127000"/>
              <a:gd name="connsiteX1" fmla="*/ 127000 w 127000"/>
              <a:gd name="connsiteY1" fmla="*/ 0 h 127000"/>
              <a:gd name="connsiteX2" fmla="*/ 127000 w 127000"/>
              <a:gd name="connsiteY2" fmla="*/ 127000 h 127000"/>
              <a:gd name="connsiteX3" fmla="*/ 0 w 127000"/>
              <a:gd name="connsiteY3" fmla="*/ 127000 h 127000"/>
              <a:gd name="connsiteX4" fmla="*/ 0 w 127000"/>
              <a:gd name="connsiteY4" fmla="*/ 0 h 127000"/>
              <a:gd name="connsiteX0" fmla="*/ 1313178 w 1313178"/>
              <a:gd name="connsiteY0" fmla="*/ 1450340 h 1450340"/>
              <a:gd name="connsiteX1" fmla="*/ 127000 w 1313178"/>
              <a:gd name="connsiteY1" fmla="*/ 0 h 1450340"/>
              <a:gd name="connsiteX2" fmla="*/ 127000 w 1313178"/>
              <a:gd name="connsiteY2" fmla="*/ 127000 h 1450340"/>
              <a:gd name="connsiteX3" fmla="*/ 0 w 1313178"/>
              <a:gd name="connsiteY3" fmla="*/ 127000 h 1450340"/>
              <a:gd name="connsiteX4" fmla="*/ 0 w 1313178"/>
              <a:gd name="connsiteY4" fmla="*/ 0 h 1450340"/>
              <a:gd name="connsiteX0" fmla="*/ 1313178 w 3514272"/>
              <a:gd name="connsiteY0" fmla="*/ 1450340 h 1450340"/>
              <a:gd name="connsiteX1" fmla="*/ 3514272 w 3514272"/>
              <a:gd name="connsiteY1" fmla="*/ 1450340 h 1450340"/>
              <a:gd name="connsiteX2" fmla="*/ 127000 w 3514272"/>
              <a:gd name="connsiteY2" fmla="*/ 127000 h 1450340"/>
              <a:gd name="connsiteX3" fmla="*/ 0 w 3514272"/>
              <a:gd name="connsiteY3" fmla="*/ 127000 h 1450340"/>
              <a:gd name="connsiteX4" fmla="*/ 0 w 3514272"/>
              <a:gd name="connsiteY4" fmla="*/ 0 h 1450340"/>
              <a:gd name="connsiteX0" fmla="*/ 1313178 w 6960439"/>
              <a:gd name="connsiteY0" fmla="*/ 1450340 h 5630454"/>
              <a:gd name="connsiteX1" fmla="*/ 3514272 w 6960439"/>
              <a:gd name="connsiteY1" fmla="*/ 1450340 h 5630454"/>
              <a:gd name="connsiteX2" fmla="*/ 6960439 w 6960439"/>
              <a:gd name="connsiteY2" fmla="*/ 5630454 h 5630454"/>
              <a:gd name="connsiteX3" fmla="*/ 0 w 6960439"/>
              <a:gd name="connsiteY3" fmla="*/ 127000 h 5630454"/>
              <a:gd name="connsiteX4" fmla="*/ 0 w 6960439"/>
              <a:gd name="connsiteY4" fmla="*/ 0 h 5630454"/>
              <a:gd name="connsiteX0" fmla="*/ 1313178 w 6960439"/>
              <a:gd name="connsiteY0" fmla="*/ 1450340 h 5630454"/>
              <a:gd name="connsiteX1" fmla="*/ 3514272 w 6960439"/>
              <a:gd name="connsiteY1" fmla="*/ 1450340 h 5630454"/>
              <a:gd name="connsiteX2" fmla="*/ 6960439 w 6960439"/>
              <a:gd name="connsiteY2" fmla="*/ 5630454 h 5630454"/>
              <a:gd name="connsiteX3" fmla="*/ 213473 w 6960439"/>
              <a:gd name="connsiteY3" fmla="*/ 5630454 h 5630454"/>
              <a:gd name="connsiteX4" fmla="*/ 0 w 6960439"/>
              <a:gd name="connsiteY4" fmla="*/ 0 h 5630454"/>
              <a:gd name="connsiteX0" fmla="*/ 1099705 w 6746966"/>
              <a:gd name="connsiteY0" fmla="*/ 0 h 4180114"/>
              <a:gd name="connsiteX1" fmla="*/ 3300799 w 6746966"/>
              <a:gd name="connsiteY1" fmla="*/ 0 h 4180114"/>
              <a:gd name="connsiteX2" fmla="*/ 6746966 w 6746966"/>
              <a:gd name="connsiteY2" fmla="*/ 4180114 h 4180114"/>
              <a:gd name="connsiteX3" fmla="*/ 0 w 6746966"/>
              <a:gd name="connsiteY3" fmla="*/ 4180114 h 4180114"/>
              <a:gd name="connsiteX4" fmla="*/ 1099705 w 6746966"/>
              <a:gd name="connsiteY4" fmla="*/ 0 h 4180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46966" h="4180114">
                <a:moveTo>
                  <a:pt x="1099705" y="0"/>
                </a:moveTo>
                <a:lnTo>
                  <a:pt x="3300799" y="0"/>
                </a:lnTo>
                <a:lnTo>
                  <a:pt x="6746966" y="4180114"/>
                </a:lnTo>
                <a:lnTo>
                  <a:pt x="0" y="4180114"/>
                </a:lnTo>
                <a:lnTo>
                  <a:pt x="1099705" y="0"/>
                </a:lnTo>
                <a:close/>
              </a:path>
            </a:pathLst>
          </a:custGeom>
          <a:solidFill>
            <a:schemeClr val="accent1">
              <a:lumMod val="100000"/>
            </a:schemeClr>
          </a:solidFill>
          <a:ln w="762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76200" cap="flat" cmpd="sng" algn="ctr">
                <a:solidFill>
                  <a:schemeClr val="tx1">
                    <a:lumMod val="10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Gerader Verbinder 8"/>
          <p:cNvCxnSpPr/>
          <p:nvPr/>
        </p:nvCxnSpPr>
        <p:spPr>
          <a:xfrm flipH="1">
            <a:off x="226174" y="1417320"/>
            <a:ext cx="1099704" cy="4225834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/>
          <p:cNvCxnSpPr/>
          <p:nvPr/>
        </p:nvCxnSpPr>
        <p:spPr>
          <a:xfrm>
            <a:off x="3526972" y="1417320"/>
            <a:ext cx="3446167" cy="4271554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 4"/>
          <p:cNvSpPr/>
          <p:nvPr/>
        </p:nvSpPr>
        <p:spPr>
          <a:xfrm>
            <a:off x="1325878" y="84909"/>
            <a:ext cx="2201094" cy="1378131"/>
          </a:xfrm>
          <a:prstGeom prst="rect">
            <a:avLst/>
          </a:prstGeom>
          <a:solidFill>
            <a:schemeClr val="accent3">
              <a:lumMod val="100000"/>
            </a:schemeClr>
          </a:solidFill>
          <a:ln w="76200" cap="flat" cmpd="sng" algn="ctr">
            <a:solidFill>
              <a:schemeClr val="accent3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226173" y="5643154"/>
            <a:ext cx="6746966" cy="1378131"/>
          </a:xfrm>
          <a:prstGeom prst="rect">
            <a:avLst/>
          </a:prstGeom>
          <a:solidFill>
            <a:schemeClr val="accent3">
              <a:lumMod val="100000"/>
            </a:schemeClr>
          </a:solidFill>
          <a:ln w="76200" cap="flat" cmpd="sng" algn="ctr">
            <a:solidFill>
              <a:schemeClr val="accent3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032320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ieren 1"/>
          <p:cNvGrpSpPr/>
          <p:nvPr/>
        </p:nvGrpSpPr>
        <p:grpSpPr>
          <a:xfrm rot="16200000">
            <a:off x="226173" y="84909"/>
            <a:ext cx="6746967" cy="6936376"/>
            <a:chOff x="226173" y="84909"/>
            <a:chExt cx="6746967" cy="6936376"/>
          </a:xfrm>
        </p:grpSpPr>
        <p:sp>
          <p:nvSpPr>
            <p:cNvPr id="7" name="Rechteck 6"/>
            <p:cNvSpPr/>
            <p:nvPr>
              <p:custDataLst>
                <p:tags r:id="rId2"/>
              </p:custDataLst>
            </p:nvPr>
          </p:nvSpPr>
          <p:spPr>
            <a:xfrm>
              <a:off x="226174" y="1463040"/>
              <a:ext cx="6746966" cy="4180114"/>
            </a:xfrm>
            <a:custGeom>
              <a:avLst/>
              <a:gdLst>
                <a:gd name="connsiteX0" fmla="*/ 0 w 127000"/>
                <a:gd name="connsiteY0" fmla="*/ 0 h 127000"/>
                <a:gd name="connsiteX1" fmla="*/ 127000 w 127000"/>
                <a:gd name="connsiteY1" fmla="*/ 0 h 127000"/>
                <a:gd name="connsiteX2" fmla="*/ 127000 w 127000"/>
                <a:gd name="connsiteY2" fmla="*/ 127000 h 127000"/>
                <a:gd name="connsiteX3" fmla="*/ 0 w 127000"/>
                <a:gd name="connsiteY3" fmla="*/ 127000 h 127000"/>
                <a:gd name="connsiteX4" fmla="*/ 0 w 127000"/>
                <a:gd name="connsiteY4" fmla="*/ 0 h 127000"/>
                <a:gd name="connsiteX0" fmla="*/ 12700 w 139700"/>
                <a:gd name="connsiteY0" fmla="*/ 12700 h 139700"/>
                <a:gd name="connsiteX1" fmla="*/ 0 w 139700"/>
                <a:gd name="connsiteY1" fmla="*/ 0 h 139700"/>
                <a:gd name="connsiteX2" fmla="*/ 139700 w 139700"/>
                <a:gd name="connsiteY2" fmla="*/ 12700 h 139700"/>
                <a:gd name="connsiteX3" fmla="*/ 139700 w 139700"/>
                <a:gd name="connsiteY3" fmla="*/ 139700 h 139700"/>
                <a:gd name="connsiteX4" fmla="*/ 12700 w 139700"/>
                <a:gd name="connsiteY4" fmla="*/ 139700 h 139700"/>
                <a:gd name="connsiteX5" fmla="*/ 12700 w 139700"/>
                <a:gd name="connsiteY5" fmla="*/ 12700 h 139700"/>
                <a:gd name="connsiteX0" fmla="*/ 0 w 127000"/>
                <a:gd name="connsiteY0" fmla="*/ 0 h 127000"/>
                <a:gd name="connsiteX1" fmla="*/ 127000 w 127000"/>
                <a:gd name="connsiteY1" fmla="*/ 0 h 127000"/>
                <a:gd name="connsiteX2" fmla="*/ 127000 w 127000"/>
                <a:gd name="connsiteY2" fmla="*/ 127000 h 127000"/>
                <a:gd name="connsiteX3" fmla="*/ 0 w 127000"/>
                <a:gd name="connsiteY3" fmla="*/ 127000 h 127000"/>
                <a:gd name="connsiteX4" fmla="*/ 0 w 127000"/>
                <a:gd name="connsiteY4" fmla="*/ 0 h 127000"/>
                <a:gd name="connsiteX0" fmla="*/ 1313178 w 1313178"/>
                <a:gd name="connsiteY0" fmla="*/ 1450340 h 1450340"/>
                <a:gd name="connsiteX1" fmla="*/ 127000 w 1313178"/>
                <a:gd name="connsiteY1" fmla="*/ 0 h 1450340"/>
                <a:gd name="connsiteX2" fmla="*/ 127000 w 1313178"/>
                <a:gd name="connsiteY2" fmla="*/ 127000 h 1450340"/>
                <a:gd name="connsiteX3" fmla="*/ 0 w 1313178"/>
                <a:gd name="connsiteY3" fmla="*/ 127000 h 1450340"/>
                <a:gd name="connsiteX4" fmla="*/ 0 w 1313178"/>
                <a:gd name="connsiteY4" fmla="*/ 0 h 1450340"/>
                <a:gd name="connsiteX0" fmla="*/ 1313178 w 3514272"/>
                <a:gd name="connsiteY0" fmla="*/ 1450340 h 1450340"/>
                <a:gd name="connsiteX1" fmla="*/ 3514272 w 3514272"/>
                <a:gd name="connsiteY1" fmla="*/ 1450340 h 1450340"/>
                <a:gd name="connsiteX2" fmla="*/ 127000 w 3514272"/>
                <a:gd name="connsiteY2" fmla="*/ 127000 h 1450340"/>
                <a:gd name="connsiteX3" fmla="*/ 0 w 3514272"/>
                <a:gd name="connsiteY3" fmla="*/ 127000 h 1450340"/>
                <a:gd name="connsiteX4" fmla="*/ 0 w 3514272"/>
                <a:gd name="connsiteY4" fmla="*/ 0 h 1450340"/>
                <a:gd name="connsiteX0" fmla="*/ 1313178 w 6960439"/>
                <a:gd name="connsiteY0" fmla="*/ 1450340 h 5630454"/>
                <a:gd name="connsiteX1" fmla="*/ 3514272 w 6960439"/>
                <a:gd name="connsiteY1" fmla="*/ 1450340 h 5630454"/>
                <a:gd name="connsiteX2" fmla="*/ 6960439 w 6960439"/>
                <a:gd name="connsiteY2" fmla="*/ 5630454 h 5630454"/>
                <a:gd name="connsiteX3" fmla="*/ 0 w 6960439"/>
                <a:gd name="connsiteY3" fmla="*/ 127000 h 5630454"/>
                <a:gd name="connsiteX4" fmla="*/ 0 w 6960439"/>
                <a:gd name="connsiteY4" fmla="*/ 0 h 5630454"/>
                <a:gd name="connsiteX0" fmla="*/ 1313178 w 6960439"/>
                <a:gd name="connsiteY0" fmla="*/ 1450340 h 5630454"/>
                <a:gd name="connsiteX1" fmla="*/ 3514272 w 6960439"/>
                <a:gd name="connsiteY1" fmla="*/ 1450340 h 5630454"/>
                <a:gd name="connsiteX2" fmla="*/ 6960439 w 6960439"/>
                <a:gd name="connsiteY2" fmla="*/ 5630454 h 5630454"/>
                <a:gd name="connsiteX3" fmla="*/ 213473 w 6960439"/>
                <a:gd name="connsiteY3" fmla="*/ 5630454 h 5630454"/>
                <a:gd name="connsiteX4" fmla="*/ 0 w 6960439"/>
                <a:gd name="connsiteY4" fmla="*/ 0 h 5630454"/>
                <a:gd name="connsiteX0" fmla="*/ 1099705 w 6746966"/>
                <a:gd name="connsiteY0" fmla="*/ 0 h 4180114"/>
                <a:gd name="connsiteX1" fmla="*/ 3300799 w 6746966"/>
                <a:gd name="connsiteY1" fmla="*/ 0 h 4180114"/>
                <a:gd name="connsiteX2" fmla="*/ 6746966 w 6746966"/>
                <a:gd name="connsiteY2" fmla="*/ 4180114 h 4180114"/>
                <a:gd name="connsiteX3" fmla="*/ 0 w 6746966"/>
                <a:gd name="connsiteY3" fmla="*/ 4180114 h 4180114"/>
                <a:gd name="connsiteX4" fmla="*/ 1099705 w 6746966"/>
                <a:gd name="connsiteY4" fmla="*/ 0 h 4180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6966" h="4180114">
                  <a:moveTo>
                    <a:pt x="1099705" y="0"/>
                  </a:moveTo>
                  <a:lnTo>
                    <a:pt x="3300799" y="0"/>
                  </a:lnTo>
                  <a:lnTo>
                    <a:pt x="6746966" y="4180114"/>
                  </a:lnTo>
                  <a:lnTo>
                    <a:pt x="0" y="4180114"/>
                  </a:lnTo>
                  <a:lnTo>
                    <a:pt x="1099705" y="0"/>
                  </a:lnTo>
                  <a:close/>
                </a:path>
              </a:pathLst>
            </a:custGeom>
            <a:solidFill>
              <a:schemeClr val="accent1">
                <a:lumMod val="100000"/>
              </a:schemeClr>
            </a:solidFill>
            <a:ln w="762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76200" cap="flat" cmpd="sng" algn="ctr">
                  <a:solidFill>
                    <a:schemeClr val="tx1">
                      <a:lumMod val="10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9" name="Gerader Verbinder 8"/>
            <p:cNvCxnSpPr/>
            <p:nvPr/>
          </p:nvCxnSpPr>
          <p:spPr>
            <a:xfrm flipH="1">
              <a:off x="226174" y="1417320"/>
              <a:ext cx="1099704" cy="4225834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/>
            <p:cNvCxnSpPr/>
            <p:nvPr/>
          </p:nvCxnSpPr>
          <p:spPr>
            <a:xfrm>
              <a:off x="3526972" y="1417320"/>
              <a:ext cx="3446167" cy="4271554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echteck 4"/>
            <p:cNvSpPr/>
            <p:nvPr/>
          </p:nvSpPr>
          <p:spPr>
            <a:xfrm>
              <a:off x="1325878" y="84909"/>
              <a:ext cx="2201094" cy="1378131"/>
            </a:xfrm>
            <a:prstGeom prst="rect">
              <a:avLst/>
            </a:prstGeom>
            <a:solidFill>
              <a:schemeClr val="accent3">
                <a:lumMod val="100000"/>
              </a:schemeClr>
            </a:solidFill>
            <a:ln w="76200" cap="flat" cmpd="sng" algn="ctr">
              <a:solidFill>
                <a:schemeClr val="accent3">
                  <a:lumMod val="100000"/>
                </a:schemeClr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hteck 5"/>
            <p:cNvSpPr/>
            <p:nvPr/>
          </p:nvSpPr>
          <p:spPr>
            <a:xfrm>
              <a:off x="226173" y="5643154"/>
              <a:ext cx="6746966" cy="1378131"/>
            </a:xfrm>
            <a:prstGeom prst="rect">
              <a:avLst/>
            </a:prstGeom>
            <a:solidFill>
              <a:schemeClr val="accent3">
                <a:lumMod val="100000"/>
              </a:schemeClr>
            </a:solidFill>
            <a:ln w="76200" cap="flat" cmpd="sng" algn="ctr">
              <a:solidFill>
                <a:schemeClr val="accent3">
                  <a:lumMod val="100000"/>
                </a:schemeClr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07810324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0410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>
            <p:custDataLst>
              <p:tags r:id="rId2"/>
            </p:custDataLst>
          </p:nvPr>
        </p:nvSpPr>
        <p:spPr>
          <a:xfrm>
            <a:off x="226174" y="1463040"/>
            <a:ext cx="6746966" cy="4180114"/>
          </a:xfrm>
          <a:custGeom>
            <a:avLst/>
            <a:gdLst>
              <a:gd name="connsiteX0" fmla="*/ 0 w 127000"/>
              <a:gd name="connsiteY0" fmla="*/ 0 h 127000"/>
              <a:gd name="connsiteX1" fmla="*/ 127000 w 127000"/>
              <a:gd name="connsiteY1" fmla="*/ 0 h 127000"/>
              <a:gd name="connsiteX2" fmla="*/ 127000 w 127000"/>
              <a:gd name="connsiteY2" fmla="*/ 127000 h 127000"/>
              <a:gd name="connsiteX3" fmla="*/ 0 w 127000"/>
              <a:gd name="connsiteY3" fmla="*/ 127000 h 127000"/>
              <a:gd name="connsiteX4" fmla="*/ 0 w 127000"/>
              <a:gd name="connsiteY4" fmla="*/ 0 h 127000"/>
              <a:gd name="connsiteX0" fmla="*/ 12700 w 139700"/>
              <a:gd name="connsiteY0" fmla="*/ 12700 h 139700"/>
              <a:gd name="connsiteX1" fmla="*/ 0 w 139700"/>
              <a:gd name="connsiteY1" fmla="*/ 0 h 139700"/>
              <a:gd name="connsiteX2" fmla="*/ 139700 w 139700"/>
              <a:gd name="connsiteY2" fmla="*/ 12700 h 139700"/>
              <a:gd name="connsiteX3" fmla="*/ 139700 w 139700"/>
              <a:gd name="connsiteY3" fmla="*/ 139700 h 139700"/>
              <a:gd name="connsiteX4" fmla="*/ 12700 w 139700"/>
              <a:gd name="connsiteY4" fmla="*/ 139700 h 139700"/>
              <a:gd name="connsiteX5" fmla="*/ 12700 w 139700"/>
              <a:gd name="connsiteY5" fmla="*/ 12700 h 139700"/>
              <a:gd name="connsiteX0" fmla="*/ 0 w 127000"/>
              <a:gd name="connsiteY0" fmla="*/ 0 h 127000"/>
              <a:gd name="connsiteX1" fmla="*/ 127000 w 127000"/>
              <a:gd name="connsiteY1" fmla="*/ 0 h 127000"/>
              <a:gd name="connsiteX2" fmla="*/ 127000 w 127000"/>
              <a:gd name="connsiteY2" fmla="*/ 127000 h 127000"/>
              <a:gd name="connsiteX3" fmla="*/ 0 w 127000"/>
              <a:gd name="connsiteY3" fmla="*/ 127000 h 127000"/>
              <a:gd name="connsiteX4" fmla="*/ 0 w 127000"/>
              <a:gd name="connsiteY4" fmla="*/ 0 h 127000"/>
              <a:gd name="connsiteX0" fmla="*/ 4614819 w 4614819"/>
              <a:gd name="connsiteY0" fmla="*/ 1450340 h 1450340"/>
              <a:gd name="connsiteX1" fmla="*/ 127000 w 4614819"/>
              <a:gd name="connsiteY1" fmla="*/ 0 h 1450340"/>
              <a:gd name="connsiteX2" fmla="*/ 127000 w 4614819"/>
              <a:gd name="connsiteY2" fmla="*/ 127000 h 1450340"/>
              <a:gd name="connsiteX3" fmla="*/ 0 w 4614819"/>
              <a:gd name="connsiteY3" fmla="*/ 127000 h 1450340"/>
              <a:gd name="connsiteX4" fmla="*/ 0 w 4614819"/>
              <a:gd name="connsiteY4" fmla="*/ 0 h 1450340"/>
              <a:gd name="connsiteX0" fmla="*/ 4614819 w 6815913"/>
              <a:gd name="connsiteY0" fmla="*/ 1450340 h 1450340"/>
              <a:gd name="connsiteX1" fmla="*/ 6815913 w 6815913"/>
              <a:gd name="connsiteY1" fmla="*/ 1450340 h 1450340"/>
              <a:gd name="connsiteX2" fmla="*/ 127000 w 6815913"/>
              <a:gd name="connsiteY2" fmla="*/ 127000 h 1450340"/>
              <a:gd name="connsiteX3" fmla="*/ 0 w 6815913"/>
              <a:gd name="connsiteY3" fmla="*/ 127000 h 1450340"/>
              <a:gd name="connsiteX4" fmla="*/ 0 w 6815913"/>
              <a:gd name="connsiteY4" fmla="*/ 0 h 1450340"/>
              <a:gd name="connsiteX0" fmla="*/ 4614819 w 6960439"/>
              <a:gd name="connsiteY0" fmla="*/ 1450340 h 5630454"/>
              <a:gd name="connsiteX1" fmla="*/ 6815913 w 6960439"/>
              <a:gd name="connsiteY1" fmla="*/ 1450340 h 5630454"/>
              <a:gd name="connsiteX2" fmla="*/ 6960439 w 6960439"/>
              <a:gd name="connsiteY2" fmla="*/ 5630454 h 5630454"/>
              <a:gd name="connsiteX3" fmla="*/ 0 w 6960439"/>
              <a:gd name="connsiteY3" fmla="*/ 127000 h 5630454"/>
              <a:gd name="connsiteX4" fmla="*/ 0 w 6960439"/>
              <a:gd name="connsiteY4" fmla="*/ 0 h 5630454"/>
              <a:gd name="connsiteX0" fmla="*/ 4614819 w 6960439"/>
              <a:gd name="connsiteY0" fmla="*/ 1450340 h 5630454"/>
              <a:gd name="connsiteX1" fmla="*/ 6815913 w 6960439"/>
              <a:gd name="connsiteY1" fmla="*/ 1450340 h 5630454"/>
              <a:gd name="connsiteX2" fmla="*/ 6960439 w 6960439"/>
              <a:gd name="connsiteY2" fmla="*/ 5630454 h 5630454"/>
              <a:gd name="connsiteX3" fmla="*/ 213473 w 6960439"/>
              <a:gd name="connsiteY3" fmla="*/ 5630454 h 5630454"/>
              <a:gd name="connsiteX4" fmla="*/ 0 w 6960439"/>
              <a:gd name="connsiteY4" fmla="*/ 0 h 5630454"/>
              <a:gd name="connsiteX0" fmla="*/ 4401346 w 6746966"/>
              <a:gd name="connsiteY0" fmla="*/ 0 h 4180114"/>
              <a:gd name="connsiteX1" fmla="*/ 6602440 w 6746966"/>
              <a:gd name="connsiteY1" fmla="*/ 0 h 4180114"/>
              <a:gd name="connsiteX2" fmla="*/ 6746966 w 6746966"/>
              <a:gd name="connsiteY2" fmla="*/ 4180114 h 4180114"/>
              <a:gd name="connsiteX3" fmla="*/ 0 w 6746966"/>
              <a:gd name="connsiteY3" fmla="*/ 4180114 h 4180114"/>
              <a:gd name="connsiteX4" fmla="*/ 4401346 w 6746966"/>
              <a:gd name="connsiteY4" fmla="*/ 0 h 4180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46966" h="4180114">
                <a:moveTo>
                  <a:pt x="4401346" y="0"/>
                </a:moveTo>
                <a:lnTo>
                  <a:pt x="6602440" y="0"/>
                </a:lnTo>
                <a:lnTo>
                  <a:pt x="6746966" y="4180114"/>
                </a:lnTo>
                <a:lnTo>
                  <a:pt x="0" y="4180114"/>
                </a:lnTo>
                <a:lnTo>
                  <a:pt x="4401346" y="0"/>
                </a:lnTo>
                <a:close/>
              </a:path>
            </a:pathLst>
          </a:custGeom>
          <a:solidFill>
            <a:schemeClr val="bg2"/>
          </a:solidFill>
          <a:ln w="76200" cap="flat" cmpd="sng" algn="ctr">
            <a:solidFill>
              <a:schemeClr val="tx1">
                <a:lumMod val="100000"/>
              </a:schemeClr>
            </a:solidFill>
            <a:prstDash val="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>
            <p:custDataLst>
              <p:tags r:id="rId3"/>
            </p:custDataLst>
          </p:nvPr>
        </p:nvSpPr>
        <p:spPr>
          <a:xfrm>
            <a:off x="226174" y="1463040"/>
            <a:ext cx="6746966" cy="4180114"/>
          </a:xfrm>
          <a:custGeom>
            <a:avLst/>
            <a:gdLst>
              <a:gd name="connsiteX0" fmla="*/ 0 w 127000"/>
              <a:gd name="connsiteY0" fmla="*/ 0 h 127000"/>
              <a:gd name="connsiteX1" fmla="*/ 127000 w 127000"/>
              <a:gd name="connsiteY1" fmla="*/ 0 h 127000"/>
              <a:gd name="connsiteX2" fmla="*/ 127000 w 127000"/>
              <a:gd name="connsiteY2" fmla="*/ 127000 h 127000"/>
              <a:gd name="connsiteX3" fmla="*/ 0 w 127000"/>
              <a:gd name="connsiteY3" fmla="*/ 127000 h 127000"/>
              <a:gd name="connsiteX4" fmla="*/ 0 w 127000"/>
              <a:gd name="connsiteY4" fmla="*/ 0 h 127000"/>
              <a:gd name="connsiteX0" fmla="*/ 12700 w 139700"/>
              <a:gd name="connsiteY0" fmla="*/ 12700 h 139700"/>
              <a:gd name="connsiteX1" fmla="*/ 0 w 139700"/>
              <a:gd name="connsiteY1" fmla="*/ 0 h 139700"/>
              <a:gd name="connsiteX2" fmla="*/ 139700 w 139700"/>
              <a:gd name="connsiteY2" fmla="*/ 12700 h 139700"/>
              <a:gd name="connsiteX3" fmla="*/ 139700 w 139700"/>
              <a:gd name="connsiteY3" fmla="*/ 139700 h 139700"/>
              <a:gd name="connsiteX4" fmla="*/ 12700 w 139700"/>
              <a:gd name="connsiteY4" fmla="*/ 139700 h 139700"/>
              <a:gd name="connsiteX5" fmla="*/ 12700 w 139700"/>
              <a:gd name="connsiteY5" fmla="*/ 12700 h 139700"/>
              <a:gd name="connsiteX0" fmla="*/ 0 w 127000"/>
              <a:gd name="connsiteY0" fmla="*/ 0 h 127000"/>
              <a:gd name="connsiteX1" fmla="*/ 127000 w 127000"/>
              <a:gd name="connsiteY1" fmla="*/ 0 h 127000"/>
              <a:gd name="connsiteX2" fmla="*/ 127000 w 127000"/>
              <a:gd name="connsiteY2" fmla="*/ 127000 h 127000"/>
              <a:gd name="connsiteX3" fmla="*/ 0 w 127000"/>
              <a:gd name="connsiteY3" fmla="*/ 127000 h 127000"/>
              <a:gd name="connsiteX4" fmla="*/ 0 w 127000"/>
              <a:gd name="connsiteY4" fmla="*/ 0 h 127000"/>
              <a:gd name="connsiteX0" fmla="*/ 1313178 w 1313178"/>
              <a:gd name="connsiteY0" fmla="*/ 1450340 h 1450340"/>
              <a:gd name="connsiteX1" fmla="*/ 127000 w 1313178"/>
              <a:gd name="connsiteY1" fmla="*/ 0 h 1450340"/>
              <a:gd name="connsiteX2" fmla="*/ 127000 w 1313178"/>
              <a:gd name="connsiteY2" fmla="*/ 127000 h 1450340"/>
              <a:gd name="connsiteX3" fmla="*/ 0 w 1313178"/>
              <a:gd name="connsiteY3" fmla="*/ 127000 h 1450340"/>
              <a:gd name="connsiteX4" fmla="*/ 0 w 1313178"/>
              <a:gd name="connsiteY4" fmla="*/ 0 h 1450340"/>
              <a:gd name="connsiteX0" fmla="*/ 1313178 w 3514272"/>
              <a:gd name="connsiteY0" fmla="*/ 1450340 h 1450340"/>
              <a:gd name="connsiteX1" fmla="*/ 3514272 w 3514272"/>
              <a:gd name="connsiteY1" fmla="*/ 1450340 h 1450340"/>
              <a:gd name="connsiteX2" fmla="*/ 127000 w 3514272"/>
              <a:gd name="connsiteY2" fmla="*/ 127000 h 1450340"/>
              <a:gd name="connsiteX3" fmla="*/ 0 w 3514272"/>
              <a:gd name="connsiteY3" fmla="*/ 127000 h 1450340"/>
              <a:gd name="connsiteX4" fmla="*/ 0 w 3514272"/>
              <a:gd name="connsiteY4" fmla="*/ 0 h 1450340"/>
              <a:gd name="connsiteX0" fmla="*/ 1313178 w 6960439"/>
              <a:gd name="connsiteY0" fmla="*/ 1450340 h 5630454"/>
              <a:gd name="connsiteX1" fmla="*/ 3514272 w 6960439"/>
              <a:gd name="connsiteY1" fmla="*/ 1450340 h 5630454"/>
              <a:gd name="connsiteX2" fmla="*/ 6960439 w 6960439"/>
              <a:gd name="connsiteY2" fmla="*/ 5630454 h 5630454"/>
              <a:gd name="connsiteX3" fmla="*/ 0 w 6960439"/>
              <a:gd name="connsiteY3" fmla="*/ 127000 h 5630454"/>
              <a:gd name="connsiteX4" fmla="*/ 0 w 6960439"/>
              <a:gd name="connsiteY4" fmla="*/ 0 h 5630454"/>
              <a:gd name="connsiteX0" fmla="*/ 1313178 w 6960439"/>
              <a:gd name="connsiteY0" fmla="*/ 1450340 h 5630454"/>
              <a:gd name="connsiteX1" fmla="*/ 3514272 w 6960439"/>
              <a:gd name="connsiteY1" fmla="*/ 1450340 h 5630454"/>
              <a:gd name="connsiteX2" fmla="*/ 6960439 w 6960439"/>
              <a:gd name="connsiteY2" fmla="*/ 5630454 h 5630454"/>
              <a:gd name="connsiteX3" fmla="*/ 213473 w 6960439"/>
              <a:gd name="connsiteY3" fmla="*/ 5630454 h 5630454"/>
              <a:gd name="connsiteX4" fmla="*/ 0 w 6960439"/>
              <a:gd name="connsiteY4" fmla="*/ 0 h 5630454"/>
              <a:gd name="connsiteX0" fmla="*/ 1099705 w 6746966"/>
              <a:gd name="connsiteY0" fmla="*/ 0 h 4180114"/>
              <a:gd name="connsiteX1" fmla="*/ 3300799 w 6746966"/>
              <a:gd name="connsiteY1" fmla="*/ 0 h 4180114"/>
              <a:gd name="connsiteX2" fmla="*/ 6746966 w 6746966"/>
              <a:gd name="connsiteY2" fmla="*/ 4180114 h 4180114"/>
              <a:gd name="connsiteX3" fmla="*/ 0 w 6746966"/>
              <a:gd name="connsiteY3" fmla="*/ 4180114 h 4180114"/>
              <a:gd name="connsiteX4" fmla="*/ 1099705 w 6746966"/>
              <a:gd name="connsiteY4" fmla="*/ 0 h 4180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46966" h="4180114">
                <a:moveTo>
                  <a:pt x="1099705" y="0"/>
                </a:moveTo>
                <a:lnTo>
                  <a:pt x="3300799" y="0"/>
                </a:lnTo>
                <a:lnTo>
                  <a:pt x="6746966" y="4180114"/>
                </a:lnTo>
                <a:lnTo>
                  <a:pt x="0" y="4180114"/>
                </a:lnTo>
                <a:lnTo>
                  <a:pt x="1099705" y="0"/>
                </a:lnTo>
                <a:close/>
              </a:path>
            </a:pathLst>
          </a:custGeom>
          <a:solidFill>
            <a:schemeClr val="accent1">
              <a:lumMod val="100000"/>
            </a:schemeClr>
          </a:solidFill>
          <a:ln w="762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76200" cap="flat" cmpd="sng" algn="ctr">
                <a:solidFill>
                  <a:schemeClr val="tx1">
                    <a:lumMod val="10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Gerader Verbinder 8"/>
          <p:cNvCxnSpPr/>
          <p:nvPr/>
        </p:nvCxnSpPr>
        <p:spPr>
          <a:xfrm flipH="1">
            <a:off x="226174" y="1417320"/>
            <a:ext cx="1099704" cy="4225834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/>
          <p:cNvCxnSpPr/>
          <p:nvPr/>
        </p:nvCxnSpPr>
        <p:spPr>
          <a:xfrm>
            <a:off x="3526972" y="1417320"/>
            <a:ext cx="3446167" cy="4271554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 4"/>
          <p:cNvSpPr/>
          <p:nvPr/>
        </p:nvSpPr>
        <p:spPr>
          <a:xfrm>
            <a:off x="1325878" y="84909"/>
            <a:ext cx="2201094" cy="1378131"/>
          </a:xfrm>
          <a:prstGeom prst="rect">
            <a:avLst/>
          </a:prstGeom>
          <a:solidFill>
            <a:schemeClr val="accent3">
              <a:lumMod val="100000"/>
            </a:schemeClr>
          </a:solidFill>
          <a:ln w="76200" cap="flat" cmpd="sng" algn="ctr">
            <a:solidFill>
              <a:schemeClr val="accent3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226173" y="5643154"/>
            <a:ext cx="6746966" cy="1378131"/>
          </a:xfrm>
          <a:prstGeom prst="rect">
            <a:avLst/>
          </a:prstGeom>
          <a:solidFill>
            <a:schemeClr val="accent3">
              <a:lumMod val="100000"/>
            </a:schemeClr>
          </a:solidFill>
          <a:ln w="76200" cap="flat" cmpd="sng" algn="ctr">
            <a:solidFill>
              <a:schemeClr val="accent3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/>
        </p:nvSpPr>
        <p:spPr>
          <a:xfrm>
            <a:off x="4627519" y="84909"/>
            <a:ext cx="2201094" cy="1378131"/>
          </a:xfrm>
          <a:prstGeom prst="rect">
            <a:avLst/>
          </a:prstGeom>
          <a:solidFill>
            <a:schemeClr val="bg2"/>
          </a:solidFill>
          <a:ln w="76200" cap="flat" cmpd="sng" algn="ctr">
            <a:solidFill>
              <a:schemeClr val="accent3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9554600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61003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/>
        </p:nvSpPr>
        <p:spPr>
          <a:xfrm>
            <a:off x="3893223" y="169818"/>
            <a:ext cx="3095896" cy="3095896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solidFill>
              <a:schemeClr val="tx1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3893224" y="1174786"/>
            <a:ext cx="2090927" cy="2090927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/>
          </p:cNvSpPr>
          <p:nvPr/>
        </p:nvSpPr>
        <p:spPr>
          <a:xfrm>
            <a:off x="114302" y="4201848"/>
            <a:ext cx="2847703" cy="2847703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/>
          </p:cNvSpPr>
          <p:nvPr/>
        </p:nvSpPr>
        <p:spPr>
          <a:xfrm>
            <a:off x="3076050" y="1240095"/>
            <a:ext cx="2847703" cy="2847703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 noChangeAspect="1"/>
          </p:cNvSpPr>
          <p:nvPr/>
        </p:nvSpPr>
        <p:spPr>
          <a:xfrm>
            <a:off x="1273629" y="4201846"/>
            <a:ext cx="1688374" cy="1688374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>
            <a:spLocks noChangeAspect="1"/>
          </p:cNvSpPr>
          <p:nvPr/>
        </p:nvSpPr>
        <p:spPr>
          <a:xfrm>
            <a:off x="3076049" y="2399422"/>
            <a:ext cx="1688374" cy="1688374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1378003" y="2503798"/>
            <a:ext cx="3282046" cy="328204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861573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8958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>
            <a:spLocks/>
          </p:cNvSpPr>
          <p:nvPr/>
        </p:nvSpPr>
        <p:spPr>
          <a:xfrm>
            <a:off x="1378003" y="2503798"/>
            <a:ext cx="3282046" cy="328204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3893224" y="1174786"/>
            <a:ext cx="2090927" cy="2090927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 noChangeAspect="1"/>
          </p:cNvSpPr>
          <p:nvPr/>
        </p:nvSpPr>
        <p:spPr>
          <a:xfrm>
            <a:off x="1378003" y="4143567"/>
            <a:ext cx="1642277" cy="1642277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>
            <a:spLocks noChangeAspect="1"/>
          </p:cNvSpPr>
          <p:nvPr/>
        </p:nvSpPr>
        <p:spPr>
          <a:xfrm>
            <a:off x="3020280" y="2503798"/>
            <a:ext cx="1639769" cy="1639769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/>
          </p:cNvSpPr>
          <p:nvPr/>
        </p:nvSpPr>
        <p:spPr>
          <a:xfrm>
            <a:off x="114302" y="4201848"/>
            <a:ext cx="2847703" cy="2847703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/>
          </p:cNvSpPr>
          <p:nvPr/>
        </p:nvSpPr>
        <p:spPr>
          <a:xfrm>
            <a:off x="3076047" y="1240095"/>
            <a:ext cx="2847703" cy="2847703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3893223" y="169818"/>
            <a:ext cx="3095896" cy="3095896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solidFill>
              <a:schemeClr val="tx1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1572199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3349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>
          <a:xfrm>
            <a:off x="402522" y="402522"/>
            <a:ext cx="6394269" cy="6394269"/>
          </a:xfrm>
          <a:prstGeom prst="rect">
            <a:avLst/>
          </a:prstGeom>
          <a:solidFill>
            <a:schemeClr val="bg2"/>
          </a:solidFill>
          <a:ln w="381000" cap="flat" cmpd="sng" algn="ctr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/>
          <p:nvPr/>
        </p:nvSpPr>
        <p:spPr>
          <a:xfrm>
            <a:off x="444137" y="437606"/>
            <a:ext cx="1567543" cy="6394269"/>
          </a:xfrm>
          <a:prstGeom prst="rect">
            <a:avLst/>
          </a:prstGeom>
          <a:noFill/>
          <a:ln w="381000" cap="sq">
            <a:solidFill>
              <a:schemeClr val="tx1"/>
            </a:solidFill>
            <a:prstDash val="sysDash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4101737" y="402522"/>
            <a:ext cx="2695054" cy="6394269"/>
          </a:xfrm>
          <a:prstGeom prst="rect">
            <a:avLst/>
          </a:prstGeom>
          <a:noFill/>
          <a:ln w="381000" cap="flat" algn="in">
            <a:solidFill>
              <a:schemeClr val="tx1"/>
            </a:solidFill>
            <a:prstDash val="sysDash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Gerader Verbinder 8"/>
          <p:cNvCxnSpPr/>
          <p:nvPr/>
        </p:nvCxnSpPr>
        <p:spPr>
          <a:xfrm>
            <a:off x="3599656" y="0"/>
            <a:ext cx="0" cy="7199313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616592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8592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6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251657" y="251657"/>
            <a:ext cx="6696000" cy="6696000"/>
            <a:chOff x="1270000" y="1270000"/>
            <a:chExt cx="381000" cy="381000"/>
          </a:xfrm>
        </p:grpSpPr>
        <p:sp>
          <p:nvSpPr>
            <p:cNvPr id="5" name="Ellipse 4"/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bg1"/>
            </a:solidFill>
            <a:ln w="381000">
              <a:solidFill>
                <a:srgbClr val="8080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Kreis 5"/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arc">
              <a:avLst>
                <a:gd name="adj1" fmla="val 16200000"/>
                <a:gd name="adj2" fmla="val 9000000"/>
              </a:avLst>
            </a:prstGeom>
            <a:solidFill>
              <a:srgbClr val="808080"/>
            </a:solidFill>
            <a:ln w="381000">
              <a:solidFill>
                <a:srgbClr val="8080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3440244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6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251657" y="251657"/>
            <a:ext cx="6696000" cy="6696000"/>
            <a:chOff x="1270000" y="1270000"/>
            <a:chExt cx="381000" cy="381000"/>
          </a:xfrm>
        </p:grpSpPr>
        <p:sp>
          <p:nvSpPr>
            <p:cNvPr id="5" name="Ellipse 4"/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bg1"/>
            </a:solidFill>
            <a:ln w="381000">
              <a:solidFill>
                <a:srgbClr val="8080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Kreis 5"/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arc">
              <a:avLst>
                <a:gd name="adj1" fmla="val 16200000"/>
                <a:gd name="adj2" fmla="val 9000000"/>
              </a:avLst>
            </a:prstGeom>
            <a:solidFill>
              <a:srgbClr val="808080"/>
            </a:solidFill>
            <a:ln w="381000">
              <a:solidFill>
                <a:srgbClr val="8080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C29D2905-884F-FDB5-7C40-AAC6E786FF66}"/>
              </a:ext>
            </a:extLst>
          </p:cNvPr>
          <p:cNvCxnSpPr>
            <a:cxnSpLocks/>
          </p:cNvCxnSpPr>
          <p:nvPr/>
        </p:nvCxnSpPr>
        <p:spPr>
          <a:xfrm flipH="1" flipV="1">
            <a:off x="409242" y="3056526"/>
            <a:ext cx="3139653" cy="492369"/>
          </a:xfrm>
          <a:prstGeom prst="line">
            <a:avLst/>
          </a:prstGeom>
          <a:ln w="381000" cap="rnd">
            <a:solidFill>
              <a:srgbClr val="808080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0507005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631" imgH="631" progId="TCLayout.ActiveDocument.1">
                  <p:embed/>
                </p:oleObj>
              </mc:Choice>
              <mc:Fallback>
                <p:oleObj name="think-cell Folie" r:id="rId7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6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201105" y="169133"/>
            <a:ext cx="3251874" cy="3251874"/>
            <a:chOff x="1270000" y="1270000"/>
            <a:chExt cx="381000" cy="381000"/>
          </a:xfrm>
        </p:grpSpPr>
        <p:sp>
          <p:nvSpPr>
            <p:cNvPr id="5" name="Ellipse 4"/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bg1"/>
            </a:solidFill>
            <a:ln w="127000">
              <a:solidFill>
                <a:schemeClr val="accent2">
                  <a:lumMod val="10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Kreis 5"/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arc">
              <a:avLst>
                <a:gd name="adj1" fmla="val 16200000"/>
                <a:gd name="adj2" fmla="val 1800000"/>
              </a:avLst>
            </a:prstGeom>
            <a:solidFill>
              <a:schemeClr val="accent2">
                <a:lumMod val="100000"/>
              </a:schemeClr>
            </a:solidFill>
            <a:ln w="127000">
              <a:solidFill>
                <a:schemeClr val="accent2">
                  <a:lumMod val="10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452202E-C538-22DC-7B02-5DAEF1818020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3812979" y="169133"/>
            <a:ext cx="3251874" cy="3251874"/>
            <a:chOff x="1270000" y="1270000"/>
            <a:chExt cx="381000" cy="381000"/>
          </a:xfrm>
        </p:grpSpPr>
        <p:sp>
          <p:nvSpPr>
            <p:cNvPr id="3" name="Ellipse 2">
              <a:extLst>
                <a:ext uri="{FF2B5EF4-FFF2-40B4-BE49-F238E27FC236}">
                  <a16:creationId xmlns:a16="http://schemas.microsoft.com/office/drawing/2014/main" id="{BE568A1C-0AA3-B5A7-F594-0C3060C32E4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bg1"/>
            </a:solidFill>
            <a:ln w="127000">
              <a:solidFill>
                <a:schemeClr val="accent5">
                  <a:lumMod val="10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Kreis 5">
              <a:extLst>
                <a:ext uri="{FF2B5EF4-FFF2-40B4-BE49-F238E27FC236}">
                  <a16:creationId xmlns:a16="http://schemas.microsoft.com/office/drawing/2014/main" id="{02272D26-330F-0D60-05DD-DA458ED33C3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arc">
              <a:avLst>
                <a:gd name="adj1" fmla="val 16200000"/>
                <a:gd name="adj2" fmla="val 1800000"/>
              </a:avLst>
            </a:prstGeom>
            <a:solidFill>
              <a:schemeClr val="accent5">
                <a:lumMod val="100000"/>
              </a:schemeClr>
            </a:solidFill>
            <a:ln w="127000">
              <a:solidFill>
                <a:schemeClr val="accent5">
                  <a:lumMod val="10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B91B5900-0EC7-D511-5976-1B31205ECEAA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201105" y="3781007"/>
            <a:ext cx="3251874" cy="3251874"/>
            <a:chOff x="1270000" y="1270000"/>
            <a:chExt cx="381000" cy="381000"/>
          </a:xfrm>
        </p:grpSpPr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0D7B9223-9716-E651-C1EB-4105166D21A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bg1"/>
            </a:solidFill>
            <a:ln w="127000">
              <a:solidFill>
                <a:schemeClr val="accent6">
                  <a:lumMod val="10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Kreis 5">
              <a:extLst>
                <a:ext uri="{FF2B5EF4-FFF2-40B4-BE49-F238E27FC236}">
                  <a16:creationId xmlns:a16="http://schemas.microsoft.com/office/drawing/2014/main" id="{267CFBCA-1B65-D734-5A19-0F181C0B4B1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arc">
              <a:avLst>
                <a:gd name="adj1" fmla="val 16200000"/>
                <a:gd name="adj2" fmla="val 1800000"/>
              </a:avLst>
            </a:prstGeom>
            <a:solidFill>
              <a:schemeClr val="accent6">
                <a:lumMod val="100000"/>
              </a:schemeClr>
            </a:solidFill>
            <a:ln w="127000">
              <a:solidFill>
                <a:schemeClr val="accent6">
                  <a:lumMod val="10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15A6F20D-E7CC-7B12-0590-01E2E7D7A188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3812979" y="3781007"/>
            <a:ext cx="3251874" cy="3251874"/>
            <a:chOff x="1270000" y="1270000"/>
            <a:chExt cx="381000" cy="381000"/>
          </a:xfrm>
        </p:grpSpPr>
        <p:sp>
          <p:nvSpPr>
            <p:cNvPr id="13" name="Ellipse 12">
              <a:extLst>
                <a:ext uri="{FF2B5EF4-FFF2-40B4-BE49-F238E27FC236}">
                  <a16:creationId xmlns:a16="http://schemas.microsoft.com/office/drawing/2014/main" id="{5B6BD1FC-0867-B514-7095-52C28FEA58D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bg1"/>
            </a:solidFill>
            <a:ln w="127000">
              <a:solidFill>
                <a:schemeClr val="accent4">
                  <a:lumMod val="10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Kreis 5">
              <a:extLst>
                <a:ext uri="{FF2B5EF4-FFF2-40B4-BE49-F238E27FC236}">
                  <a16:creationId xmlns:a16="http://schemas.microsoft.com/office/drawing/2014/main" id="{8A468E29-0E9E-C27D-DA34-264E8639D05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arc">
              <a:avLst>
                <a:gd name="adj1" fmla="val 16200000"/>
                <a:gd name="adj2" fmla="val 1800000"/>
              </a:avLst>
            </a:prstGeom>
            <a:solidFill>
              <a:schemeClr val="accent4">
                <a:lumMod val="100000"/>
              </a:schemeClr>
            </a:solidFill>
            <a:ln w="127000">
              <a:solidFill>
                <a:schemeClr val="accent4">
                  <a:lumMod val="10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82963669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631" imgH="631" progId="TCLayout.ActiveDocument.1">
                  <p:embed/>
                </p:oleObj>
              </mc:Choice>
              <mc:Fallback>
                <p:oleObj name="think-cell Folie" r:id="rId7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6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201105" y="169133"/>
            <a:ext cx="3251874" cy="3251874"/>
            <a:chOff x="1270000" y="1270000"/>
            <a:chExt cx="381000" cy="381000"/>
          </a:xfrm>
        </p:grpSpPr>
        <p:sp>
          <p:nvSpPr>
            <p:cNvPr id="5" name="Ellipse 4"/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accent2">
                <a:lumMod val="100000"/>
              </a:schemeClr>
            </a:solidFill>
            <a:ln w="127000">
              <a:solidFill>
                <a:srgbClr val="8080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Kreis 5"/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arc">
              <a:avLst>
                <a:gd name="adj1" fmla="val 16200000"/>
                <a:gd name="adj2" fmla="val 1800000"/>
              </a:avLst>
            </a:prstGeom>
            <a:solidFill>
              <a:srgbClr val="808080"/>
            </a:solidFill>
            <a:ln w="127000">
              <a:solidFill>
                <a:srgbClr val="8080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452202E-C538-22DC-7B02-5DAEF1818020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3812979" y="169133"/>
            <a:ext cx="3251874" cy="3251874"/>
            <a:chOff x="1270000" y="1270000"/>
            <a:chExt cx="381000" cy="381000"/>
          </a:xfrm>
        </p:grpSpPr>
        <p:sp>
          <p:nvSpPr>
            <p:cNvPr id="3" name="Ellipse 2">
              <a:extLst>
                <a:ext uri="{FF2B5EF4-FFF2-40B4-BE49-F238E27FC236}">
                  <a16:creationId xmlns:a16="http://schemas.microsoft.com/office/drawing/2014/main" id="{BE568A1C-0AA3-B5A7-F594-0C3060C32E4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accent5">
                <a:lumMod val="100000"/>
              </a:schemeClr>
            </a:solidFill>
            <a:ln w="127000">
              <a:solidFill>
                <a:srgbClr val="8080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Kreis 5">
              <a:extLst>
                <a:ext uri="{FF2B5EF4-FFF2-40B4-BE49-F238E27FC236}">
                  <a16:creationId xmlns:a16="http://schemas.microsoft.com/office/drawing/2014/main" id="{02272D26-330F-0D60-05DD-DA458ED33C3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arc">
              <a:avLst>
                <a:gd name="adj1" fmla="val 16200000"/>
                <a:gd name="adj2" fmla="val 1800000"/>
              </a:avLst>
            </a:prstGeom>
            <a:solidFill>
              <a:srgbClr val="808080"/>
            </a:solidFill>
            <a:ln w="127000">
              <a:solidFill>
                <a:srgbClr val="8080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B91B5900-0EC7-D511-5976-1B31205ECEAA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201105" y="3781007"/>
            <a:ext cx="3251874" cy="3251874"/>
            <a:chOff x="1270000" y="1270000"/>
            <a:chExt cx="381000" cy="381000"/>
          </a:xfrm>
        </p:grpSpPr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0D7B9223-9716-E651-C1EB-4105166D21A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accent6">
                <a:lumMod val="100000"/>
              </a:schemeClr>
            </a:solidFill>
            <a:ln w="127000">
              <a:solidFill>
                <a:srgbClr val="8080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Kreis 5">
              <a:extLst>
                <a:ext uri="{FF2B5EF4-FFF2-40B4-BE49-F238E27FC236}">
                  <a16:creationId xmlns:a16="http://schemas.microsoft.com/office/drawing/2014/main" id="{267CFBCA-1B65-D734-5A19-0F181C0B4B1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arc">
              <a:avLst>
                <a:gd name="adj1" fmla="val 16200000"/>
                <a:gd name="adj2" fmla="val 1800000"/>
              </a:avLst>
            </a:prstGeom>
            <a:solidFill>
              <a:srgbClr val="808080"/>
            </a:solidFill>
            <a:ln w="127000">
              <a:solidFill>
                <a:srgbClr val="8080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15A6F20D-E7CC-7B12-0590-01E2E7D7A188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3812979" y="3781007"/>
            <a:ext cx="3251874" cy="3251874"/>
            <a:chOff x="1270000" y="1270000"/>
            <a:chExt cx="381000" cy="381000"/>
          </a:xfrm>
        </p:grpSpPr>
        <p:sp>
          <p:nvSpPr>
            <p:cNvPr id="13" name="Ellipse 12">
              <a:extLst>
                <a:ext uri="{FF2B5EF4-FFF2-40B4-BE49-F238E27FC236}">
                  <a16:creationId xmlns:a16="http://schemas.microsoft.com/office/drawing/2014/main" id="{5B6BD1FC-0867-B514-7095-52C28FEA58D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accent4">
                <a:lumMod val="100000"/>
              </a:schemeClr>
            </a:solidFill>
            <a:ln w="127000">
              <a:solidFill>
                <a:srgbClr val="8080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Kreis 5">
              <a:extLst>
                <a:ext uri="{FF2B5EF4-FFF2-40B4-BE49-F238E27FC236}">
                  <a16:creationId xmlns:a16="http://schemas.microsoft.com/office/drawing/2014/main" id="{8A468E29-0E9E-C27D-DA34-264E8639D05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arc">
              <a:avLst>
                <a:gd name="adj1" fmla="val 16200000"/>
                <a:gd name="adj2" fmla="val 1800000"/>
              </a:avLst>
            </a:prstGeom>
            <a:solidFill>
              <a:srgbClr val="808080"/>
            </a:solidFill>
            <a:ln w="127000">
              <a:solidFill>
                <a:srgbClr val="8080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08244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9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2676959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6223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631" imgH="631" progId="TCLayout.ActiveDocument.1">
                  <p:embed/>
                </p:oleObj>
              </mc:Choice>
              <mc:Fallback>
                <p:oleObj name="think-cell Folie" r:id="rId7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452202E-C538-22DC-7B02-5DAEF1818020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3890916" y="247070"/>
            <a:ext cx="3096000" cy="3096000"/>
            <a:chOff x="1270000" y="1270000"/>
            <a:chExt cx="381000" cy="381000"/>
          </a:xfrm>
        </p:grpSpPr>
        <p:sp>
          <p:nvSpPr>
            <p:cNvPr id="3" name="Ellipse 2">
              <a:extLst>
                <a:ext uri="{FF2B5EF4-FFF2-40B4-BE49-F238E27FC236}">
                  <a16:creationId xmlns:a16="http://schemas.microsoft.com/office/drawing/2014/main" id="{BE568A1C-0AA3-B5A7-F594-0C3060C32E4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bg1">
                <a:lumMod val="100000"/>
              </a:schemeClr>
            </a:solidFill>
            <a:ln w="381000">
              <a:solidFill>
                <a:schemeClr val="accent5">
                  <a:lumMod val="10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Kreis 5">
              <a:extLst>
                <a:ext uri="{FF2B5EF4-FFF2-40B4-BE49-F238E27FC236}">
                  <a16:creationId xmlns:a16="http://schemas.microsoft.com/office/drawing/2014/main" id="{02272D26-330F-0D60-05DD-DA458ED33C3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arc">
              <a:avLst>
                <a:gd name="adj1" fmla="val 16200000"/>
                <a:gd name="adj2" fmla="val 1800000"/>
              </a:avLst>
            </a:prstGeom>
            <a:solidFill>
              <a:srgbClr val="808080"/>
            </a:solidFill>
            <a:ln w="381000">
              <a:solidFill>
                <a:schemeClr val="accent5">
                  <a:lumMod val="10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B91B5900-0EC7-D511-5976-1B31205ECEAA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279042" y="3858944"/>
            <a:ext cx="3096000" cy="3096000"/>
            <a:chOff x="1270000" y="1270000"/>
            <a:chExt cx="381000" cy="381000"/>
          </a:xfrm>
        </p:grpSpPr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0D7B9223-9716-E651-C1EB-4105166D21A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bg1">
                <a:lumMod val="100000"/>
              </a:schemeClr>
            </a:solidFill>
            <a:ln w="381000">
              <a:solidFill>
                <a:schemeClr val="accent6">
                  <a:lumMod val="10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Kreis 5">
              <a:extLst>
                <a:ext uri="{FF2B5EF4-FFF2-40B4-BE49-F238E27FC236}">
                  <a16:creationId xmlns:a16="http://schemas.microsoft.com/office/drawing/2014/main" id="{267CFBCA-1B65-D734-5A19-0F181C0B4B1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arc">
              <a:avLst>
                <a:gd name="adj1" fmla="val 16200000"/>
                <a:gd name="adj2" fmla="val 1800000"/>
              </a:avLst>
            </a:prstGeom>
            <a:solidFill>
              <a:srgbClr val="808080"/>
            </a:solidFill>
            <a:ln w="381000">
              <a:solidFill>
                <a:schemeClr val="accent6">
                  <a:lumMod val="10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15A6F20D-E7CC-7B12-0590-01E2E7D7A188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3890916" y="3858944"/>
            <a:ext cx="3096000" cy="3096000"/>
            <a:chOff x="1270000" y="1270000"/>
            <a:chExt cx="381000" cy="381000"/>
          </a:xfrm>
        </p:grpSpPr>
        <p:sp>
          <p:nvSpPr>
            <p:cNvPr id="13" name="Ellipse 12">
              <a:extLst>
                <a:ext uri="{FF2B5EF4-FFF2-40B4-BE49-F238E27FC236}">
                  <a16:creationId xmlns:a16="http://schemas.microsoft.com/office/drawing/2014/main" id="{5B6BD1FC-0867-B514-7095-52C28FEA58D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bg1">
                <a:lumMod val="100000"/>
              </a:schemeClr>
            </a:solidFill>
            <a:ln w="381000">
              <a:solidFill>
                <a:schemeClr val="accent4">
                  <a:lumMod val="10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Kreis 5">
              <a:extLst>
                <a:ext uri="{FF2B5EF4-FFF2-40B4-BE49-F238E27FC236}">
                  <a16:creationId xmlns:a16="http://schemas.microsoft.com/office/drawing/2014/main" id="{8A468E29-0E9E-C27D-DA34-264E8639D05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arc">
              <a:avLst>
                <a:gd name="adj1" fmla="val 16200000"/>
                <a:gd name="adj2" fmla="val 1800000"/>
              </a:avLst>
            </a:prstGeom>
            <a:solidFill>
              <a:srgbClr val="808080"/>
            </a:solidFill>
            <a:ln w="381000">
              <a:solidFill>
                <a:schemeClr val="accent4">
                  <a:lumMod val="10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B6AF3435-927A-011A-16A6-3936A3D5C730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279042" y="247070"/>
            <a:ext cx="3096000" cy="3096000"/>
            <a:chOff x="1270000" y="1270000"/>
            <a:chExt cx="381000" cy="381000"/>
          </a:xfrm>
        </p:grpSpPr>
        <p:sp>
          <p:nvSpPr>
            <p:cNvPr id="33" name="Ellipse 32">
              <a:extLst>
                <a:ext uri="{FF2B5EF4-FFF2-40B4-BE49-F238E27FC236}">
                  <a16:creationId xmlns:a16="http://schemas.microsoft.com/office/drawing/2014/main" id="{81A18BB9-2E03-C5D1-8ACF-1AE25CF782A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bg1">
                <a:lumMod val="100000"/>
              </a:schemeClr>
            </a:solidFill>
            <a:ln w="381000" cap="flat" cmpd="sng" algn="ctr">
              <a:solidFill>
                <a:schemeClr val="accent2">
                  <a:lumMod val="100000"/>
                </a:schemeClr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Kreis 5">
              <a:extLst>
                <a:ext uri="{FF2B5EF4-FFF2-40B4-BE49-F238E27FC236}">
                  <a16:creationId xmlns:a16="http://schemas.microsoft.com/office/drawing/2014/main" id="{20F9DAC0-4EE6-E384-75B0-4E6DAF7A7D2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arc">
              <a:avLst>
                <a:gd name="adj1" fmla="val 16200000"/>
                <a:gd name="adj2" fmla="val 1800000"/>
              </a:avLst>
            </a:prstGeom>
            <a:solidFill>
              <a:srgbClr val="808080"/>
            </a:solidFill>
            <a:ln w="381000" cap="flat" cmpd="sng" algn="ctr">
              <a:solidFill>
                <a:schemeClr val="accent2">
                  <a:lumMod val="100000"/>
                </a:schemeClr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94945144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B6AF3435-927A-011A-16A6-3936A3D5C730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340551" y="340551"/>
            <a:ext cx="6518211" cy="6518211"/>
            <a:chOff x="1270000" y="1270000"/>
            <a:chExt cx="381000" cy="381000"/>
          </a:xfrm>
        </p:grpSpPr>
        <p:sp>
          <p:nvSpPr>
            <p:cNvPr id="33" name="Ellipse 32">
              <a:extLst>
                <a:ext uri="{FF2B5EF4-FFF2-40B4-BE49-F238E27FC236}">
                  <a16:creationId xmlns:a16="http://schemas.microsoft.com/office/drawing/2014/main" id="{81A18BB9-2E03-C5D1-8ACF-1AE25CF782A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bg1">
                <a:lumMod val="100000"/>
              </a:schemeClr>
            </a:solidFill>
            <a:ln w="3810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381000" cap="flat" cmpd="sng" algn="ctr">
                  <a:solidFill>
                    <a:schemeClr val="accent2">
                      <a:lumMod val="10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Kreis 5">
              <a:extLst>
                <a:ext uri="{FF2B5EF4-FFF2-40B4-BE49-F238E27FC236}">
                  <a16:creationId xmlns:a16="http://schemas.microsoft.com/office/drawing/2014/main" id="{20F9DAC0-4EE6-E384-75B0-4E6DAF7A7D2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arc">
              <a:avLst>
                <a:gd name="adj1" fmla="val 16200000"/>
                <a:gd name="adj2" fmla="val 1800000"/>
              </a:avLst>
            </a:prstGeom>
            <a:solidFill>
              <a:srgbClr val="808080"/>
            </a:solidFill>
            <a:ln w="3810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381000" cap="flat" cmpd="sng" algn="ctr">
                  <a:solidFill>
                    <a:schemeClr val="accent2">
                      <a:lumMod val="10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74721412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B6AF3435-927A-011A-16A6-3936A3D5C730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3243608" y="3243608"/>
            <a:ext cx="3744000" cy="3744000"/>
            <a:chOff x="1270000" y="1270000"/>
            <a:chExt cx="381000" cy="381000"/>
          </a:xfrm>
        </p:grpSpPr>
        <p:sp>
          <p:nvSpPr>
            <p:cNvPr id="33" name="Ellipse 32">
              <a:extLst>
                <a:ext uri="{FF2B5EF4-FFF2-40B4-BE49-F238E27FC236}">
                  <a16:creationId xmlns:a16="http://schemas.microsoft.com/office/drawing/2014/main" id="{81A18BB9-2E03-C5D1-8ACF-1AE25CF782A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bg1">
                <a:lumMod val="100000"/>
              </a:schemeClr>
            </a:solidFill>
            <a:ln w="381000" cap="flat" cmpd="sng" algn="ctr">
              <a:solidFill>
                <a:schemeClr val="accent2">
                  <a:lumMod val="100000"/>
                </a:schemeClr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Kreis 5">
              <a:extLst>
                <a:ext uri="{FF2B5EF4-FFF2-40B4-BE49-F238E27FC236}">
                  <a16:creationId xmlns:a16="http://schemas.microsoft.com/office/drawing/2014/main" id="{20F9DAC0-4EE6-E384-75B0-4E6DAF7A7D2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pie">
              <a:avLst>
                <a:gd name="adj1" fmla="val 16200000"/>
                <a:gd name="adj2" fmla="val 1800000"/>
              </a:avLst>
            </a:prstGeom>
            <a:solidFill>
              <a:srgbClr val="808080"/>
            </a:solidFill>
            <a:ln w="381000" cap="flat" cmpd="sng" algn="ctr">
              <a:solidFill>
                <a:schemeClr val="accent2">
                  <a:lumMod val="100000"/>
                </a:schemeClr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68D1A566-5DE9-B216-AC0D-87473177472C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204621" y="211015"/>
            <a:ext cx="3744000" cy="3744000"/>
            <a:chOff x="1270000" y="1270000"/>
            <a:chExt cx="381000" cy="381000"/>
          </a:xfrm>
        </p:grpSpPr>
        <p:sp>
          <p:nvSpPr>
            <p:cNvPr id="3" name="Ellipse 2">
              <a:extLst>
                <a:ext uri="{FF2B5EF4-FFF2-40B4-BE49-F238E27FC236}">
                  <a16:creationId xmlns:a16="http://schemas.microsoft.com/office/drawing/2014/main" id="{7AB1DEA4-2841-FBB0-F63E-63F3BCC7E71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bg1">
                <a:lumMod val="100000"/>
              </a:schemeClr>
            </a:solidFill>
            <a:ln w="381000" cap="flat" cmpd="sng" algn="ctr">
              <a:solidFill>
                <a:schemeClr val="accent2">
                  <a:lumMod val="100000"/>
                </a:schemeClr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Kreis 5">
              <a:extLst>
                <a:ext uri="{FF2B5EF4-FFF2-40B4-BE49-F238E27FC236}">
                  <a16:creationId xmlns:a16="http://schemas.microsoft.com/office/drawing/2014/main" id="{3149805D-F270-A535-F3AA-CA431D35444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arc">
              <a:avLst>
                <a:gd name="adj1" fmla="val 16200000"/>
                <a:gd name="adj2" fmla="val 1800000"/>
              </a:avLst>
            </a:prstGeom>
            <a:solidFill>
              <a:srgbClr val="808080"/>
            </a:solidFill>
            <a:ln w="381000" cap="flat" cmpd="sng" algn="ctr">
              <a:solidFill>
                <a:schemeClr val="accent2">
                  <a:lumMod val="100000"/>
                </a:schemeClr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9" name="Pfeil: gebogen 8">
            <a:extLst>
              <a:ext uri="{FF2B5EF4-FFF2-40B4-BE49-F238E27FC236}">
                <a16:creationId xmlns:a16="http://schemas.microsoft.com/office/drawing/2014/main" id="{BB841C98-3A72-F6D5-500B-5D69937C5DE3}"/>
              </a:ext>
            </a:extLst>
          </p:cNvPr>
          <p:cNvSpPr/>
          <p:nvPr/>
        </p:nvSpPr>
        <p:spPr>
          <a:xfrm rot="3098115">
            <a:off x="3864182" y="674679"/>
            <a:ext cx="2535975" cy="2291476"/>
          </a:xfrm>
          <a:prstGeom prst="circular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feil: gebogen 9">
            <a:extLst>
              <a:ext uri="{FF2B5EF4-FFF2-40B4-BE49-F238E27FC236}">
                <a16:creationId xmlns:a16="http://schemas.microsoft.com/office/drawing/2014/main" id="{10E6A648-447D-9E74-778B-E81A53C513B1}"/>
              </a:ext>
            </a:extLst>
          </p:cNvPr>
          <p:cNvSpPr/>
          <p:nvPr/>
        </p:nvSpPr>
        <p:spPr>
          <a:xfrm rot="2987690" flipH="1" flipV="1">
            <a:off x="744396" y="3969870"/>
            <a:ext cx="2535975" cy="2291476"/>
          </a:xfrm>
          <a:prstGeom prst="circular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1216127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68D1A566-5DE9-B216-AC0D-87473177472C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204621" y="211015"/>
            <a:ext cx="3744000" cy="3744000"/>
            <a:chOff x="1270000" y="1270000"/>
            <a:chExt cx="381000" cy="381000"/>
          </a:xfrm>
        </p:grpSpPr>
        <p:sp>
          <p:nvSpPr>
            <p:cNvPr id="3" name="Ellipse 2">
              <a:extLst>
                <a:ext uri="{FF2B5EF4-FFF2-40B4-BE49-F238E27FC236}">
                  <a16:creationId xmlns:a16="http://schemas.microsoft.com/office/drawing/2014/main" id="{7AB1DEA4-2841-FBB0-F63E-63F3BCC7E71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bg1">
                <a:lumMod val="100000"/>
              </a:schemeClr>
            </a:solidFill>
            <a:ln w="127000" cap="flat" cmpd="sng" algn="ctr">
              <a:solidFill>
                <a:srgbClr val="808080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Kreis 5">
              <a:extLst>
                <a:ext uri="{FF2B5EF4-FFF2-40B4-BE49-F238E27FC236}">
                  <a16:creationId xmlns:a16="http://schemas.microsoft.com/office/drawing/2014/main" id="{3149805D-F270-A535-F3AA-CA431D35444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arc">
              <a:avLst>
                <a:gd name="adj1" fmla="val 16200000"/>
                <a:gd name="adj2" fmla="val 1800000"/>
              </a:avLst>
            </a:prstGeom>
            <a:solidFill>
              <a:srgbClr val="808080"/>
            </a:solidFill>
            <a:ln w="127000" cap="flat" cmpd="sng" algn="ctr">
              <a:solidFill>
                <a:srgbClr val="808080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7" name="Pfeil: gebogen 6">
            <a:extLst>
              <a:ext uri="{FF2B5EF4-FFF2-40B4-BE49-F238E27FC236}">
                <a16:creationId xmlns:a16="http://schemas.microsoft.com/office/drawing/2014/main" id="{16E88505-D2E4-09B6-C341-083C29D07D31}"/>
              </a:ext>
            </a:extLst>
          </p:cNvPr>
          <p:cNvSpPr/>
          <p:nvPr/>
        </p:nvSpPr>
        <p:spPr>
          <a:xfrm rot="3098115">
            <a:off x="3864182" y="674679"/>
            <a:ext cx="2535975" cy="2291476"/>
          </a:xfrm>
          <a:prstGeom prst="circular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feil: gebogen 7">
            <a:extLst>
              <a:ext uri="{FF2B5EF4-FFF2-40B4-BE49-F238E27FC236}">
                <a16:creationId xmlns:a16="http://schemas.microsoft.com/office/drawing/2014/main" id="{BD7A6D71-10E1-A0F2-4A22-B7CA3D152ABD}"/>
              </a:ext>
            </a:extLst>
          </p:cNvPr>
          <p:cNvSpPr/>
          <p:nvPr/>
        </p:nvSpPr>
        <p:spPr>
          <a:xfrm rot="2987690" flipH="1" flipV="1">
            <a:off x="744396" y="3969870"/>
            <a:ext cx="2535975" cy="2291476"/>
          </a:xfrm>
          <a:prstGeom prst="circular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FB853C6C-750F-E596-A172-366FAFD867F2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 flipH="1">
            <a:off x="3148351" y="3190808"/>
            <a:ext cx="3744000" cy="3744000"/>
            <a:chOff x="1270000" y="1270000"/>
            <a:chExt cx="381000" cy="381000"/>
          </a:xfrm>
        </p:grpSpPr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7E65B0E1-354E-B34A-F9F1-85DE1037EF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bg1">
                <a:lumMod val="100000"/>
              </a:schemeClr>
            </a:solidFill>
            <a:ln w="127000" cap="flat" cmpd="sng" algn="ctr">
              <a:solidFill>
                <a:srgbClr val="808080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Kreis 5">
              <a:extLst>
                <a:ext uri="{FF2B5EF4-FFF2-40B4-BE49-F238E27FC236}">
                  <a16:creationId xmlns:a16="http://schemas.microsoft.com/office/drawing/2014/main" id="{B7645F7D-AF4E-8318-92B5-878C561B9F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arc">
              <a:avLst>
                <a:gd name="adj1" fmla="val 16200000"/>
                <a:gd name="adj2" fmla="val 1800000"/>
              </a:avLst>
            </a:prstGeom>
            <a:solidFill>
              <a:srgbClr val="808080"/>
            </a:solidFill>
            <a:ln w="127000" cap="flat" cmpd="sng" algn="ctr">
              <a:solidFill>
                <a:srgbClr val="808080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93290828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6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251657" y="251657"/>
            <a:ext cx="6696000" cy="6696000"/>
            <a:chOff x="1270000" y="1270000"/>
            <a:chExt cx="381000" cy="381000"/>
          </a:xfrm>
        </p:grpSpPr>
        <p:sp>
          <p:nvSpPr>
            <p:cNvPr id="5" name="Ellipse 4"/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bg1"/>
            </a:solidFill>
            <a:ln w="381000">
              <a:solidFill>
                <a:srgbClr val="80808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Kreis 5"/>
            <p:cNvSpPr>
              <a:spLocks noChangeAspect="1"/>
            </p:cNvSpPr>
            <p:nvPr/>
          </p:nvSpPr>
          <p:spPr>
            <a:xfrm>
              <a:off x="1308100" y="1308100"/>
              <a:ext cx="304800" cy="304800"/>
            </a:xfrm>
            <a:prstGeom prst="arc">
              <a:avLst>
                <a:gd name="adj1" fmla="val 16200000"/>
                <a:gd name="adj2" fmla="val 9000000"/>
              </a:avLst>
            </a:prstGeom>
            <a:solidFill>
              <a:srgbClr val="808080"/>
            </a:solidFill>
            <a:ln w="3810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381000" cap="flat" cmpd="sng" algn="ctr">
                  <a:solidFill>
                    <a:srgbClr val="808080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51916489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6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395660" y="395660"/>
            <a:ext cx="6408001" cy="6408001"/>
            <a:chOff x="1250950" y="1250950"/>
            <a:chExt cx="419100" cy="419100"/>
          </a:xfrm>
        </p:grpSpPr>
        <p:sp>
          <p:nvSpPr>
            <p:cNvPr id="5" name="Ellipse 4"/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bg1"/>
            </a:solidFill>
            <a:ln w="381000">
              <a:solidFill>
                <a:srgbClr val="808080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Kreis 5"/>
            <p:cNvSpPr>
              <a:spLocks noChangeAspect="1"/>
            </p:cNvSpPr>
            <p:nvPr/>
          </p:nvSpPr>
          <p:spPr>
            <a:xfrm>
              <a:off x="1250950" y="1250950"/>
              <a:ext cx="419100" cy="419100"/>
            </a:xfrm>
            <a:prstGeom prst="arc">
              <a:avLst>
                <a:gd name="adj1" fmla="val 16200000"/>
                <a:gd name="adj2" fmla="val 9000000"/>
              </a:avLst>
            </a:prstGeom>
            <a:solidFill>
              <a:srgbClr val="808080"/>
            </a:solidFill>
            <a:ln w="381000" cap="flat" cmpd="sng" algn="ctr">
              <a:solidFill>
                <a:srgbClr val="808080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64276292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374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uppieren 7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2310131" y="160923"/>
            <a:ext cx="2579050" cy="6877466"/>
            <a:chOff x="1270000" y="1270000"/>
            <a:chExt cx="381000" cy="1016000"/>
          </a:xfrm>
        </p:grpSpPr>
        <p:sp>
          <p:nvSpPr>
            <p:cNvPr id="4" name="Rechteck 3"/>
            <p:cNvSpPr/>
            <p:nvPr/>
          </p:nvSpPr>
          <p:spPr>
            <a:xfrm>
              <a:off x="1270000" y="1270000"/>
              <a:ext cx="381000" cy="1016000"/>
            </a:xfrm>
            <a:prstGeom prst="rect">
              <a:avLst/>
            </a:prstGeom>
            <a:solidFill>
              <a:srgbClr val="D9D9D9"/>
            </a:solidFill>
            <a:ln w="762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Ellipse 4"/>
            <p:cNvSpPr/>
            <p:nvPr/>
          </p:nvSpPr>
          <p:spPr>
            <a:xfrm>
              <a:off x="1333500" y="1333500"/>
              <a:ext cx="254000" cy="254000"/>
            </a:xfrm>
            <a:prstGeom prst="ellipse">
              <a:avLst/>
            </a:prstGeom>
            <a:solidFill>
              <a:srgbClr val="FF0000"/>
            </a:solidFill>
            <a:ln w="762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Ellipse 5"/>
            <p:cNvSpPr/>
            <p:nvPr/>
          </p:nvSpPr>
          <p:spPr>
            <a:xfrm>
              <a:off x="1333500" y="1651000"/>
              <a:ext cx="254000" cy="254000"/>
            </a:xfrm>
            <a:prstGeom prst="ellipse">
              <a:avLst/>
            </a:prstGeom>
            <a:solidFill>
              <a:srgbClr val="FFFF00"/>
            </a:solidFill>
            <a:ln w="762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Ellipse 6"/>
            <p:cNvSpPr/>
            <p:nvPr/>
          </p:nvSpPr>
          <p:spPr>
            <a:xfrm>
              <a:off x="1333500" y="1968500"/>
              <a:ext cx="254000" cy="254000"/>
            </a:xfrm>
            <a:prstGeom prst="ellipse">
              <a:avLst/>
            </a:prstGeom>
            <a:solidFill>
              <a:srgbClr val="00B050"/>
            </a:solidFill>
            <a:ln w="762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70958760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374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uppieren 7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 rot="5400000">
            <a:off x="2310131" y="160923"/>
            <a:ext cx="2579050" cy="6877466"/>
            <a:chOff x="1270000" y="1270000"/>
            <a:chExt cx="381000" cy="1016000"/>
          </a:xfrm>
        </p:grpSpPr>
        <p:sp>
          <p:nvSpPr>
            <p:cNvPr id="4" name="Rechteck 3"/>
            <p:cNvSpPr/>
            <p:nvPr/>
          </p:nvSpPr>
          <p:spPr>
            <a:xfrm>
              <a:off x="1270000" y="1270000"/>
              <a:ext cx="381000" cy="1016000"/>
            </a:xfrm>
            <a:prstGeom prst="rect">
              <a:avLst/>
            </a:prstGeom>
            <a:solidFill>
              <a:srgbClr val="D9D9D9"/>
            </a:solidFill>
            <a:ln w="762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Ellipse 4"/>
            <p:cNvSpPr/>
            <p:nvPr/>
          </p:nvSpPr>
          <p:spPr>
            <a:xfrm>
              <a:off x="1333500" y="1333500"/>
              <a:ext cx="254000" cy="254000"/>
            </a:xfrm>
            <a:prstGeom prst="ellipse">
              <a:avLst/>
            </a:prstGeom>
            <a:solidFill>
              <a:srgbClr val="FF0000"/>
            </a:solidFill>
            <a:ln w="762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Ellipse 5"/>
            <p:cNvSpPr/>
            <p:nvPr/>
          </p:nvSpPr>
          <p:spPr>
            <a:xfrm>
              <a:off x="1333500" y="1651000"/>
              <a:ext cx="254000" cy="254000"/>
            </a:xfrm>
            <a:prstGeom prst="ellipse">
              <a:avLst/>
            </a:prstGeom>
            <a:solidFill>
              <a:srgbClr val="FFFF00"/>
            </a:solidFill>
            <a:ln w="762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Ellipse 6"/>
            <p:cNvSpPr/>
            <p:nvPr/>
          </p:nvSpPr>
          <p:spPr>
            <a:xfrm>
              <a:off x="1333500" y="1968500"/>
              <a:ext cx="254000" cy="254000"/>
            </a:xfrm>
            <a:prstGeom prst="ellipse">
              <a:avLst/>
            </a:prstGeom>
            <a:solidFill>
              <a:srgbClr val="00B050"/>
            </a:solidFill>
            <a:ln w="762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604443744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3563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llipse 3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2310131" y="2310131"/>
            <a:ext cx="2579050" cy="2579050"/>
          </a:xfrm>
          <a:prstGeom prst="ellipse">
            <a:avLst/>
          </a:prstGeom>
          <a:solidFill>
            <a:srgbClr val="FF0000"/>
          </a:solidFill>
          <a:ln w="7620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7890922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>
            <a:spLocks noChangeAspect="1"/>
          </p:cNvSpPr>
          <p:nvPr/>
        </p:nvSpPr>
        <p:spPr>
          <a:xfrm>
            <a:off x="165625" y="1592587"/>
            <a:ext cx="3282046" cy="3282046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 noChangeAspect="1"/>
          </p:cNvSpPr>
          <p:nvPr/>
        </p:nvSpPr>
        <p:spPr>
          <a:xfrm>
            <a:off x="1958633" y="1958633"/>
            <a:ext cx="3282046" cy="3282046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 noChangeAspect="1"/>
          </p:cNvSpPr>
          <p:nvPr/>
        </p:nvSpPr>
        <p:spPr>
          <a:xfrm>
            <a:off x="3751641" y="2324679"/>
            <a:ext cx="3282046" cy="3282046"/>
          </a:xfrm>
          <a:prstGeom prst="rect">
            <a:avLst/>
          </a:prstGeom>
          <a:solidFill>
            <a:schemeClr val="accent1"/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ight Arrow 14"/>
          <p:cNvSpPr/>
          <p:nvPr/>
        </p:nvSpPr>
        <p:spPr>
          <a:xfrm>
            <a:off x="1351509" y="2857535"/>
            <a:ext cx="3615763" cy="1484242"/>
          </a:xfrm>
          <a:prstGeom prst="rightArrow">
            <a:avLst/>
          </a:prstGeom>
          <a:solidFill>
            <a:schemeClr val="tx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22065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8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354142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2616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>
            <a:spLocks noChangeAspect="1"/>
          </p:cNvSpPr>
          <p:nvPr/>
        </p:nvSpPr>
        <p:spPr>
          <a:xfrm>
            <a:off x="3751641" y="2324679"/>
            <a:ext cx="3282046" cy="3282046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 noChangeAspect="1"/>
          </p:cNvSpPr>
          <p:nvPr/>
        </p:nvSpPr>
        <p:spPr>
          <a:xfrm>
            <a:off x="1958633" y="1958633"/>
            <a:ext cx="3282046" cy="3282046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 noChangeAspect="1"/>
          </p:cNvSpPr>
          <p:nvPr/>
        </p:nvSpPr>
        <p:spPr>
          <a:xfrm>
            <a:off x="165625" y="1592587"/>
            <a:ext cx="3282046" cy="3282046"/>
          </a:xfrm>
          <a:prstGeom prst="rect">
            <a:avLst/>
          </a:prstGeom>
          <a:solidFill>
            <a:schemeClr val="accent1"/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ight Arrow 14"/>
          <p:cNvSpPr/>
          <p:nvPr/>
        </p:nvSpPr>
        <p:spPr>
          <a:xfrm flipH="1">
            <a:off x="2293002" y="2857535"/>
            <a:ext cx="3615763" cy="1484242"/>
          </a:xfrm>
          <a:prstGeom prst="rightArrow">
            <a:avLst/>
          </a:prstGeom>
          <a:solidFill>
            <a:schemeClr val="tx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5916830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>
            <a:spLocks noChangeAspect="1"/>
          </p:cNvSpPr>
          <p:nvPr/>
        </p:nvSpPr>
        <p:spPr>
          <a:xfrm rot="5400000" flipH="1">
            <a:off x="2324679" y="3751641"/>
            <a:ext cx="3282046" cy="3282046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 noChangeAspect="1"/>
          </p:cNvSpPr>
          <p:nvPr/>
        </p:nvSpPr>
        <p:spPr>
          <a:xfrm rot="5400000" flipH="1">
            <a:off x="1958633" y="1958633"/>
            <a:ext cx="3282046" cy="3282046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 noChangeAspect="1"/>
          </p:cNvSpPr>
          <p:nvPr/>
        </p:nvSpPr>
        <p:spPr>
          <a:xfrm rot="5400000" flipH="1">
            <a:off x="1592587" y="165625"/>
            <a:ext cx="3282046" cy="3282046"/>
          </a:xfrm>
          <a:prstGeom prst="rect">
            <a:avLst/>
          </a:prstGeom>
          <a:solidFill>
            <a:schemeClr val="accent1"/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ight Arrow 14"/>
          <p:cNvSpPr/>
          <p:nvPr/>
        </p:nvSpPr>
        <p:spPr>
          <a:xfrm rot="16200000">
            <a:off x="1791775" y="3494229"/>
            <a:ext cx="3615763" cy="1484242"/>
          </a:xfrm>
          <a:prstGeom prst="rightArrow">
            <a:avLst/>
          </a:prstGeom>
          <a:solidFill>
            <a:schemeClr val="tx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5830067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9948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>
            <a:spLocks noChangeAspect="1"/>
          </p:cNvSpPr>
          <p:nvPr/>
        </p:nvSpPr>
        <p:spPr>
          <a:xfrm rot="5400000" flipH="1">
            <a:off x="1592587" y="165625"/>
            <a:ext cx="3282046" cy="3282046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 noChangeAspect="1"/>
          </p:cNvSpPr>
          <p:nvPr/>
        </p:nvSpPr>
        <p:spPr>
          <a:xfrm rot="5400000" flipH="1">
            <a:off x="1958633" y="1958633"/>
            <a:ext cx="3282046" cy="3282046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 noChangeAspect="1"/>
          </p:cNvSpPr>
          <p:nvPr/>
        </p:nvSpPr>
        <p:spPr>
          <a:xfrm rot="5400000" flipH="1">
            <a:off x="2324679" y="3751641"/>
            <a:ext cx="3282046" cy="3282046"/>
          </a:xfrm>
          <a:prstGeom prst="rect">
            <a:avLst/>
          </a:prstGeom>
          <a:solidFill>
            <a:schemeClr val="accent1"/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ight Arrow 14"/>
          <p:cNvSpPr/>
          <p:nvPr/>
        </p:nvSpPr>
        <p:spPr>
          <a:xfrm rot="5400000" flipV="1">
            <a:off x="1791776" y="2471457"/>
            <a:ext cx="3615763" cy="1484242"/>
          </a:xfrm>
          <a:prstGeom prst="rightArrow">
            <a:avLst/>
          </a:prstGeom>
          <a:solidFill>
            <a:schemeClr val="tx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5038703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5730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26" imgH="526" progId="TCLayout.ActiveDocument.1">
                  <p:embed/>
                </p:oleObj>
              </mc:Choice>
              <mc:Fallback>
                <p:oleObj name="think-cell Folie" r:id="rId3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>
            <a:spLocks/>
          </p:cNvSpPr>
          <p:nvPr/>
        </p:nvSpPr>
        <p:spPr>
          <a:xfrm>
            <a:off x="3428009" y="1012277"/>
            <a:ext cx="3384000" cy="216000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291385" y="773137"/>
            <a:ext cx="1596932" cy="65440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Eingekerbter Richtungspfeil 16"/>
          <p:cNvSpPr/>
          <p:nvPr/>
        </p:nvSpPr>
        <p:spPr>
          <a:xfrm>
            <a:off x="1183981" y="68884"/>
            <a:ext cx="1334570" cy="2062912"/>
          </a:xfrm>
          <a:prstGeom prst="chevron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9" name="Rechteck 8"/>
          <p:cNvSpPr>
            <a:spLocks/>
          </p:cNvSpPr>
          <p:nvPr/>
        </p:nvSpPr>
        <p:spPr>
          <a:xfrm>
            <a:off x="291385" y="2166877"/>
            <a:ext cx="6520624" cy="216000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/>
          </p:cNvSpPr>
          <p:nvPr/>
        </p:nvSpPr>
        <p:spPr>
          <a:xfrm>
            <a:off x="291385" y="3321477"/>
            <a:ext cx="6520624" cy="216000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291385" y="4476077"/>
            <a:ext cx="6520624" cy="216000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291385" y="6785279"/>
            <a:ext cx="6520624" cy="216000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/>
          </p:cNvSpPr>
          <p:nvPr/>
        </p:nvSpPr>
        <p:spPr>
          <a:xfrm>
            <a:off x="291385" y="5630677"/>
            <a:ext cx="6520624" cy="216000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0665891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26" imgH="526" progId="TCLayout.ActiveDocument.1">
                  <p:embed/>
                </p:oleObj>
              </mc:Choice>
              <mc:Fallback>
                <p:oleObj name="think-cell Folie" r:id="rId3" imgW="526" imgH="52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ieren 1"/>
          <p:cNvGrpSpPr/>
          <p:nvPr/>
        </p:nvGrpSpPr>
        <p:grpSpPr>
          <a:xfrm rot="5400000">
            <a:off x="808798" y="219229"/>
            <a:ext cx="2515954" cy="2326390"/>
            <a:chOff x="291388" y="782136"/>
            <a:chExt cx="2227163" cy="1262862"/>
          </a:xfrm>
        </p:grpSpPr>
        <p:sp>
          <p:nvSpPr>
            <p:cNvPr id="6" name="Rechteck 5"/>
            <p:cNvSpPr/>
            <p:nvPr/>
          </p:nvSpPr>
          <p:spPr>
            <a:xfrm>
              <a:off x="291388" y="1246670"/>
              <a:ext cx="1596932" cy="33379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Eingekerbter Richtungspfeil 16"/>
            <p:cNvSpPr/>
            <p:nvPr/>
          </p:nvSpPr>
          <p:spPr>
            <a:xfrm>
              <a:off x="1183981" y="782136"/>
              <a:ext cx="1334570" cy="1262862"/>
            </a:xfrm>
            <a:prstGeom prst="chevron">
              <a:avLst/>
            </a:prstGeom>
            <a:solidFill>
              <a:schemeClr val="accent1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9" name="Rechteck 8"/>
          <p:cNvSpPr>
            <a:spLocks/>
          </p:cNvSpPr>
          <p:nvPr/>
        </p:nvSpPr>
        <p:spPr>
          <a:xfrm>
            <a:off x="291385" y="3097366"/>
            <a:ext cx="6520624" cy="216000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/>
          </p:cNvSpPr>
          <p:nvPr/>
        </p:nvSpPr>
        <p:spPr>
          <a:xfrm>
            <a:off x="291385" y="4032562"/>
            <a:ext cx="6520624" cy="216000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291385" y="4967758"/>
            <a:ext cx="4410471" cy="216000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291385" y="5902954"/>
            <a:ext cx="4410471" cy="216000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/>
          </p:cNvSpPr>
          <p:nvPr/>
        </p:nvSpPr>
        <p:spPr>
          <a:xfrm>
            <a:off x="291385" y="6838149"/>
            <a:ext cx="6520624" cy="216000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9647210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06056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26" imgH="526" progId="TCLayout.ActiveDocument.1">
                  <p:embed/>
                </p:oleObj>
              </mc:Choice>
              <mc:Fallback>
                <p:oleObj name="think-cell Folie" r:id="rId3" imgW="526" imgH="52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uppieren 13"/>
          <p:cNvGrpSpPr/>
          <p:nvPr/>
        </p:nvGrpSpPr>
        <p:grpSpPr>
          <a:xfrm rot="5400000">
            <a:off x="808798" y="4572426"/>
            <a:ext cx="2515954" cy="2326390"/>
            <a:chOff x="291388" y="782136"/>
            <a:chExt cx="2227163" cy="1262862"/>
          </a:xfrm>
        </p:grpSpPr>
        <p:sp>
          <p:nvSpPr>
            <p:cNvPr id="15" name="Rechteck 14"/>
            <p:cNvSpPr/>
            <p:nvPr/>
          </p:nvSpPr>
          <p:spPr>
            <a:xfrm>
              <a:off x="291388" y="1246670"/>
              <a:ext cx="1596932" cy="33379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Eingekerbter Richtungspfeil 16"/>
            <p:cNvSpPr/>
            <p:nvPr/>
          </p:nvSpPr>
          <p:spPr>
            <a:xfrm>
              <a:off x="1183981" y="782136"/>
              <a:ext cx="1334570" cy="1262862"/>
            </a:xfrm>
            <a:prstGeom prst="chevron">
              <a:avLst/>
            </a:prstGeom>
            <a:solidFill>
              <a:schemeClr val="accent1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20" name="Rechteck 19"/>
          <p:cNvSpPr>
            <a:spLocks/>
          </p:cNvSpPr>
          <p:nvPr/>
        </p:nvSpPr>
        <p:spPr>
          <a:xfrm>
            <a:off x="291385" y="124447"/>
            <a:ext cx="6520624" cy="216000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hteck 20"/>
          <p:cNvSpPr>
            <a:spLocks/>
          </p:cNvSpPr>
          <p:nvPr/>
        </p:nvSpPr>
        <p:spPr>
          <a:xfrm>
            <a:off x="291385" y="1059643"/>
            <a:ext cx="6520624" cy="216000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hteck 21"/>
          <p:cNvSpPr>
            <a:spLocks/>
          </p:cNvSpPr>
          <p:nvPr/>
        </p:nvSpPr>
        <p:spPr>
          <a:xfrm>
            <a:off x="291385" y="1994839"/>
            <a:ext cx="4410471" cy="216000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hteck 22"/>
          <p:cNvSpPr>
            <a:spLocks/>
          </p:cNvSpPr>
          <p:nvPr/>
        </p:nvSpPr>
        <p:spPr>
          <a:xfrm>
            <a:off x="291385" y="2930035"/>
            <a:ext cx="4410471" cy="216000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hteck 23"/>
          <p:cNvSpPr>
            <a:spLocks/>
          </p:cNvSpPr>
          <p:nvPr/>
        </p:nvSpPr>
        <p:spPr>
          <a:xfrm>
            <a:off x="291385" y="3865230"/>
            <a:ext cx="6520624" cy="216000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62631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THUMBNAIL" val="{&quot;content_only&quot;: true, &quot;slide_id&quot;: 312, &quot;slide_path&quot;: &quot;CURRENT&quot;, &quot;data_type&quot;: 6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THUMBNAIL" val="{&quot;content_only&quot;: true, &quot;slide_id&quot;: 310, &quot;slide_path&quot;: &quot;CURRENT&quot;, &quot;data_type&quot;: 6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THUMBNAIL" val="{&quot;content_only&quot;: true, &quot;slide_id&quot;: 311, &quot;slide_path&quot;: &quot;CURRENT&quot;, &quot;data_type&quot;: 6}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DbJLoNzQFkTrsdaO3pt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SHAPE_CONNECTORS" val="{&quot;shape2_side&quot;: &quot;top&quot;, &quot;shape1_side&quot;: &quot;bottom&quot;, &quot;shape2_id&quot;: 6, &quot;shape1_id&quot;: 5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SHAPE_CONNECTORS" val="{&quot;shape2_side&quot;: &quot;top&quot;, &quot;shape1_side&quot;: &quot;bottom&quot;, &quot;shape2_id&quot;: 6, &quot;shape1_id&quot;: 5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SHAPE_CONNECTORS" val="{&quot;shape2_side&quot;: &quot;top&quot;, &quot;shape1_side&quot;: &quot;bottom&quot;, &quot;shape2_id&quot;: 6, &quot;shape1_id&quot;: 10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SHAPE_CONNECTORS" val="{&quot;shape2_side&quot;: &quot;top&quot;, &quot;shape1_side&quot;: &quot;bottom&quot;, &quot;shape2_id&quot;: 6, &quot;shape1_id&quot;: 5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SHAPE_HARVEY"/>
  <p:tag name="BKT_HARVEY_DENOM_TAG" val="3"/>
  <p:tag name="BKT_SHAPE_HARVEY" val="BKT_HARVEY_V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SHAPE_HARVEY"/>
  <p:tag name="BKT_HARVEY_DENOM_TAG" val="3"/>
  <p:tag name="BKT_SHAPE_HARVEY" val="BKT_HARVEY_V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SHAPE_HARVEY"/>
  <p:tag name="BKT_HARVEY_DENOM_TAG" val="3"/>
  <p:tag name="BKT_SHAPE_HARVEY" val="BKT_HARVEY_V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SHAPE_HARVEY"/>
  <p:tag name="BKT_HARVEY_DENOM_TAG" val="3"/>
  <p:tag name="BKT_SHAPE_HARVEY" val="BKT_HARVEY_V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SHAPE_HARVEY"/>
  <p:tag name="BKT_HARVEY_DENOM_TAG" val="3"/>
  <p:tag name="BKT_SHAPE_HARVEY" val="BKT_HARVEY_V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SHAPE_HARVEY"/>
  <p:tag name="BKT_HARVEY_DENOM_TAG" val="3"/>
  <p:tag name="BKT_SHAPE_HARVEY" val="BKT_HARVEY_V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SHAPE_HARVEY"/>
  <p:tag name="BKT_HARVEY_DENOM_TAG" val="3"/>
  <p:tag name="BKT_SHAPE_HARVEY" val="BKT_HARVEY_V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SHAPE_HARVEY"/>
  <p:tag name="BKT_HARVEY_DENOM_TAG" val="3"/>
  <p:tag name="BKT_SHAPE_HARVEY" val="BKT_HARVEY_V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SHAPE_HARVEY"/>
  <p:tag name="BKT_HARVEY_DENOM_TAG" val="3"/>
  <p:tag name="BKT_SHAPE_HARVEY" val="BKT_HARVEY_V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SHAPE_HARVEY"/>
  <p:tag name="BKT_HARVEY_DENOM_TAG" val="3"/>
  <p:tag name="BKT_SHAPE_HARVEY" val="BKT_HARVEY_V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SHAPE_HARVEY"/>
  <p:tag name="BKT_HARVEY_DENOM_TAG" val="3"/>
  <p:tag name="BKT_SHAPE_HARVEY" val="BKT_HARVEY_V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SHAPE_HARVEY"/>
  <p:tag name="BKT_HARVEY_DENOM_TAG" val="3"/>
  <p:tag name="BKT_SHAPE_HARVEY" val="BKT_HARVEY_V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SHAPE_HARVEY"/>
  <p:tag name="BKT_HARVEY_DENOM_TAG" val="3"/>
  <p:tag name="BKT_SHAPE_HARVEY" val="BKT_HARVEY_V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SHAPE_HARVEY"/>
  <p:tag name="BKT_SHAPE_HARVEY" val="BKT_HARVEY_V2"/>
  <p:tag name="BKT_HARVEY_DENOM_TAG" val="3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SHAPE_HARVEY"/>
  <p:tag name="BKT_SHAPE_HARVEY" val="BKT_HARVEY_V2"/>
  <p:tag name="BKT_HARVEY_DENOM_TAG" val="3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SHAPE_HARVEY"/>
  <p:tag name="BKT_SHAPE_HARVEY" val="BKT_HARVEY_V2"/>
  <p:tag name="BKT_HARVEY_DENOM_TAG" val="3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SHAPE_HARVEY"/>
  <p:tag name="BKT_SHAPE_HARVEY" val="BKT_HARVEY_V2"/>
  <p:tag name="BKT_HARVEY_DENOM_TAG" val="3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SHAPE_HARVEY"/>
  <p:tag name="BKT_SHAPE_HARVEY" val="BKT_HARVEY_V2"/>
  <p:tag name="BKT_HARVEY_DENOM_TAG" val="3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SHAPE_HARVEY"/>
  <p:tag name="BKT_SHAPE_HARVEY" val="BKT_HARVEY_V2"/>
  <p:tag name="BKT_HARVEY_DENOM_TAG" val="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SHAPE_HARVEY"/>
  <p:tag name="BKT_HARVEY_DENOM_TAG" val="3"/>
  <p:tag name="BKT_SHAPE_HARVEY" val="BKT_HARVEY_V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SHAPE_HARVEY"/>
  <p:tag name="BKT_HARVEY_DENOM_TAG" val="3"/>
  <p:tag name="BKT_SHAPE_HARVEY" val="BKT_HARVEY_V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DIALOG_AMPEL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DIALOG_AMPEL3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DIALOG_AMPEL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0</Words>
  <Application>Microsoft Office PowerPoint</Application>
  <PresentationFormat>Benutzerdefiniert</PresentationFormat>
  <Paragraphs>0</Paragraphs>
  <Slides>95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5</vt:i4>
      </vt:variant>
    </vt:vector>
  </HeadingPairs>
  <TitlesOfParts>
    <vt:vector size="100" baseType="lpstr">
      <vt:lpstr>Arial</vt:lpstr>
      <vt:lpstr>Calibri</vt:lpstr>
      <vt:lpstr>Calibri Light</vt:lpstr>
      <vt:lpstr>Office Them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Senacor Technologie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tallmann, Florian</dc:creator>
  <cp:lastModifiedBy>Stallmann, Florian</cp:lastModifiedBy>
  <cp:revision>165</cp:revision>
  <dcterms:created xsi:type="dcterms:W3CDTF">2017-11-29T15:03:45Z</dcterms:created>
  <dcterms:modified xsi:type="dcterms:W3CDTF">2022-12-11T20:34:06Z</dcterms:modified>
</cp:coreProperties>
</file>